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4011" r:id="rId100"/>
  </p:sldMasterIdLst>
  <p:notesMasterIdLst>
    <p:notesMasterId r:id="rId146"/>
  </p:notesMasterIdLst>
  <p:handoutMasterIdLst>
    <p:handoutMasterId r:id="rId147"/>
  </p:handoutMasterIdLst>
  <p:sldIdLst>
    <p:sldId id="2147482497" r:id="rId101"/>
    <p:sldId id="2147482499" r:id="rId102"/>
    <p:sldId id="2147482509" r:id="rId103"/>
    <p:sldId id="2147482535" r:id="rId104"/>
    <p:sldId id="2147482510" r:id="rId105"/>
    <p:sldId id="2147482538" r:id="rId106"/>
    <p:sldId id="2147482521" r:id="rId107"/>
    <p:sldId id="2147482511" r:id="rId108"/>
    <p:sldId id="2147482539" r:id="rId109"/>
    <p:sldId id="2147482540" r:id="rId110"/>
    <p:sldId id="2147482523" r:id="rId111"/>
    <p:sldId id="2147482512" r:id="rId112"/>
    <p:sldId id="2147482524" r:id="rId113"/>
    <p:sldId id="2147482525" r:id="rId114"/>
    <p:sldId id="2147482526" r:id="rId115"/>
    <p:sldId id="2147482542" r:id="rId116"/>
    <p:sldId id="2147482544" r:id="rId117"/>
    <p:sldId id="2147482527" r:id="rId118"/>
    <p:sldId id="2147482528" r:id="rId119"/>
    <p:sldId id="2147482522" r:id="rId120"/>
    <p:sldId id="2147482513" r:id="rId121"/>
    <p:sldId id="2147482548" r:id="rId122"/>
    <p:sldId id="2147482547" r:id="rId123"/>
    <p:sldId id="2147482514" r:id="rId124"/>
    <p:sldId id="2147482530" r:id="rId125"/>
    <p:sldId id="2147482531" r:id="rId126"/>
    <p:sldId id="2147482515" r:id="rId127"/>
    <p:sldId id="2147482546" r:id="rId128"/>
    <p:sldId id="2147482532" r:id="rId129"/>
    <p:sldId id="2147482533" r:id="rId130"/>
    <p:sldId id="2147482551" r:id="rId131"/>
    <p:sldId id="2147482550" r:id="rId132"/>
    <p:sldId id="2147482545" r:id="rId133"/>
    <p:sldId id="2147482559" r:id="rId134"/>
    <p:sldId id="2147482518" r:id="rId135"/>
    <p:sldId id="2147482519" r:id="rId136"/>
    <p:sldId id="2147482552" r:id="rId137"/>
    <p:sldId id="2147482553" r:id="rId138"/>
    <p:sldId id="2147482560" r:id="rId139"/>
    <p:sldId id="2147482554" r:id="rId140"/>
    <p:sldId id="2147482557" r:id="rId141"/>
    <p:sldId id="2147482555" r:id="rId142"/>
    <p:sldId id="2147482556" r:id="rId143"/>
    <p:sldId id="2147482558" r:id="rId144"/>
    <p:sldId id="2147482508" r:id="rId14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7"/>
            <p14:sldId id="2147482499"/>
            <p14:sldId id="2147482509"/>
            <p14:sldId id="2147482535"/>
            <p14:sldId id="2147482510"/>
            <p14:sldId id="2147482538"/>
            <p14:sldId id="2147482521"/>
            <p14:sldId id="2147482511"/>
            <p14:sldId id="2147482539"/>
            <p14:sldId id="2147482540"/>
            <p14:sldId id="2147482523"/>
            <p14:sldId id="2147482512"/>
            <p14:sldId id="2147482524"/>
            <p14:sldId id="2147482525"/>
            <p14:sldId id="2147482526"/>
            <p14:sldId id="2147482542"/>
            <p14:sldId id="2147482544"/>
            <p14:sldId id="2147482527"/>
            <p14:sldId id="2147482528"/>
            <p14:sldId id="2147482522"/>
            <p14:sldId id="2147482513"/>
            <p14:sldId id="2147482548"/>
            <p14:sldId id="2147482547"/>
            <p14:sldId id="2147482514"/>
            <p14:sldId id="2147482530"/>
            <p14:sldId id="2147482531"/>
            <p14:sldId id="2147482515"/>
            <p14:sldId id="2147482546"/>
            <p14:sldId id="2147482532"/>
            <p14:sldId id="2147482533"/>
            <p14:sldId id="2147482551"/>
            <p14:sldId id="2147482550"/>
            <p14:sldId id="2147482545"/>
            <p14:sldId id="2147482559"/>
            <p14:sldId id="2147482518"/>
            <p14:sldId id="2147482519"/>
            <p14:sldId id="2147482552"/>
            <p14:sldId id="2147482553"/>
            <p14:sldId id="2147482560"/>
            <p14:sldId id="2147482554"/>
            <p14:sldId id="2147482557"/>
            <p14:sldId id="2147482555"/>
            <p14:sldId id="2147482556"/>
            <p14:sldId id="2147482558"/>
            <p14:sldId id="2147482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D151C51B-0BBA-E1CE-6FFA-B243C130D7E0}" name="Chanioglou, Konstantinos" initials="KC" userId="S::k.chanioglou@student.tue.nl::c0292eed-e682-465f-bc42-5529bf28649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B"/>
    <a:srgbClr val="CBCCD5"/>
    <a:srgbClr val="0B5FD9"/>
    <a:srgbClr val="0B5ED7"/>
    <a:srgbClr val="FFDFDB"/>
    <a:srgbClr val="FFE050"/>
    <a:srgbClr val="FFED5E"/>
    <a:srgbClr val="02ABB1"/>
    <a:srgbClr val="00666F"/>
    <a:srgbClr val="FCFC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58959" autoAdjust="0"/>
  </p:normalViewPr>
  <p:slideViewPr>
    <p:cSldViewPr snapToGrid="0">
      <p:cViewPr varScale="1">
        <p:scale>
          <a:sx n="86" d="100"/>
          <a:sy n="86" d="100"/>
        </p:scale>
        <p:origin x="2370" y="78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7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slide" Target="slides/slide38.xml"/><Relationship Id="rId107" Type="http://schemas.openxmlformats.org/officeDocument/2006/relationships/slide" Target="slides/slide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slide" Target="slides/slide28.xml"/><Relationship Id="rId149" Type="http://schemas.openxmlformats.org/officeDocument/2006/relationships/viewProps" Target="viewProps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113" Type="http://schemas.openxmlformats.org/officeDocument/2006/relationships/slide" Target="slides/slide13.xml"/><Relationship Id="rId118" Type="http://schemas.openxmlformats.org/officeDocument/2006/relationships/slide" Target="slides/slide18.xml"/><Relationship Id="rId134" Type="http://schemas.openxmlformats.org/officeDocument/2006/relationships/slide" Target="slides/slide34.xml"/><Relationship Id="rId139" Type="http://schemas.openxmlformats.org/officeDocument/2006/relationships/slide" Target="slides/slide39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150" Type="http://schemas.openxmlformats.org/officeDocument/2006/relationships/theme" Target="theme/theme1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slide" Target="slides/slide3.xml"/><Relationship Id="rId108" Type="http://schemas.openxmlformats.org/officeDocument/2006/relationships/slide" Target="slides/slide8.xml"/><Relationship Id="rId124" Type="http://schemas.openxmlformats.org/officeDocument/2006/relationships/slide" Target="slides/slide24.xml"/><Relationship Id="rId129" Type="http://schemas.openxmlformats.org/officeDocument/2006/relationships/slide" Target="slides/slide29.xml"/><Relationship Id="rId54" Type="http://schemas.openxmlformats.org/officeDocument/2006/relationships/customXml" Target="../customXml/item54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40" Type="http://schemas.openxmlformats.org/officeDocument/2006/relationships/slide" Target="slides/slide40.xml"/><Relationship Id="rId145" Type="http://schemas.openxmlformats.org/officeDocument/2006/relationships/slide" Target="slides/slide4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slide" Target="slides/slide14.xml"/><Relationship Id="rId119" Type="http://schemas.openxmlformats.org/officeDocument/2006/relationships/slide" Target="slides/slide19.xml"/><Relationship Id="rId44" Type="http://schemas.openxmlformats.org/officeDocument/2006/relationships/customXml" Target="../customXml/item44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130" Type="http://schemas.openxmlformats.org/officeDocument/2006/relationships/slide" Target="slides/slide30.xml"/><Relationship Id="rId135" Type="http://schemas.openxmlformats.org/officeDocument/2006/relationships/slide" Target="slides/slide35.xml"/><Relationship Id="rId151" Type="http://schemas.openxmlformats.org/officeDocument/2006/relationships/tableStyles" Target="tableStyles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slide" Target="slides/slide4.xml"/><Relationship Id="rId120" Type="http://schemas.openxmlformats.org/officeDocument/2006/relationships/slide" Target="slides/slide20.xml"/><Relationship Id="rId125" Type="http://schemas.openxmlformats.org/officeDocument/2006/relationships/slide" Target="slides/slide25.xml"/><Relationship Id="rId141" Type="http://schemas.openxmlformats.org/officeDocument/2006/relationships/slide" Target="slides/slide41.xml"/><Relationship Id="rId146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10.xml"/><Relationship Id="rId115" Type="http://schemas.openxmlformats.org/officeDocument/2006/relationships/slide" Target="slides/slide15.xml"/><Relationship Id="rId131" Type="http://schemas.openxmlformats.org/officeDocument/2006/relationships/slide" Target="slides/slide31.xml"/><Relationship Id="rId136" Type="http://schemas.openxmlformats.org/officeDocument/2006/relationships/slide" Target="slides/slide36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52" Type="http://schemas.microsoft.com/office/2018/10/relationships/authors" Target="authors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slideMaster" Target="slideMasters/slideMaster1.xml"/><Relationship Id="rId105" Type="http://schemas.openxmlformats.org/officeDocument/2006/relationships/slide" Target="slides/slide5.xml"/><Relationship Id="rId126" Type="http://schemas.openxmlformats.org/officeDocument/2006/relationships/slide" Target="slides/slide26.xml"/><Relationship Id="rId147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slide" Target="slides/slide21.xml"/><Relationship Id="rId142" Type="http://schemas.openxmlformats.org/officeDocument/2006/relationships/slide" Target="slides/slide42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slide" Target="slides/slide16.xml"/><Relationship Id="rId137" Type="http://schemas.openxmlformats.org/officeDocument/2006/relationships/slide" Target="slides/slide37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slide" Target="slides/slide11.xml"/><Relationship Id="rId132" Type="http://schemas.openxmlformats.org/officeDocument/2006/relationships/slide" Target="slides/slide32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slide" Target="slides/slide6.xml"/><Relationship Id="rId127" Type="http://schemas.openxmlformats.org/officeDocument/2006/relationships/slide" Target="slides/slide2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slide" Target="slides/slide1.xml"/><Relationship Id="rId122" Type="http://schemas.openxmlformats.org/officeDocument/2006/relationships/slide" Target="slides/slide22.xml"/><Relationship Id="rId143" Type="http://schemas.openxmlformats.org/officeDocument/2006/relationships/slide" Target="slides/slide43.xml"/><Relationship Id="rId148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26" Type="http://schemas.openxmlformats.org/officeDocument/2006/relationships/customXml" Target="../customXml/item26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slide" Target="slides/slide12.xml"/><Relationship Id="rId133" Type="http://schemas.openxmlformats.org/officeDocument/2006/relationships/slide" Target="slides/slide33.xml"/><Relationship Id="rId16" Type="http://schemas.openxmlformats.org/officeDocument/2006/relationships/customXml" Target="../customXml/item16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slide" Target="slides/slide2.xml"/><Relationship Id="rId123" Type="http://schemas.openxmlformats.org/officeDocument/2006/relationships/slide" Target="slides/slide23.xml"/><Relationship Id="rId144" Type="http://schemas.openxmlformats.org/officeDocument/2006/relationships/slide" Target="slides/slide44.xml"/><Relationship Id="rId90" Type="http://schemas.openxmlformats.org/officeDocument/2006/relationships/customXml" Target="../customXml/item9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7/19/2025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7/1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32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8D5FC-7E4D-D596-B22A-7A63955B5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715411-9AFD-06EA-7975-92C4073699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4CE1AC-0A14-4D78-EB3E-9724D4B8A3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9E2FCC-5ABE-2FC8-98C0-8CFC620D71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081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E82170-A5A8-478B-4869-3016155EC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776A7C-C35B-CF4D-D05B-65518B52CF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2CE6E5-9C6C-C337-BA07-BD5AF257C9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246CEC-0E7D-E15A-724D-A5D6EEC3CC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181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94497-3E83-B844-1EC2-A15C911E3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A64878-DBED-686B-0CCC-A07F434361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91CF52-29DD-C5C6-59A8-A68CF2DB5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ystem uses a </a:t>
            </a:r>
            <a:r>
              <a:rPr lang="en-US" b="1" dirty="0"/>
              <a:t>single execution engine</a:t>
            </a:r>
            <a:r>
              <a:rPr lang="en-US" dirty="0"/>
              <a:t> to interpret external workflow configuration files at runtime, enabling full </a:t>
            </a:r>
            <a:r>
              <a:rPr lang="en-US" b="1" dirty="0"/>
              <a:t>workflow configurability</a:t>
            </a:r>
            <a:r>
              <a:rPr lang="en-US" dirty="0"/>
              <a:t> without modifying or redeploying co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inical tasks are implemented as </a:t>
            </a:r>
            <a:r>
              <a:rPr lang="en-US" b="1" dirty="0"/>
              <a:t>Unit Functions (UFs)</a:t>
            </a:r>
            <a:r>
              <a:rPr lang="en-US" dirty="0"/>
              <a:t>—modular, reusable, and independently testable components that encapsulate specific task logic and can be flexibly reused across workflo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ors</a:t>
            </a:r>
            <a:r>
              <a:rPr lang="en-US" dirty="0"/>
              <a:t> act as bridges between the system and external hospital systems, handling interoperability, data translation, and routing—thus enabling </a:t>
            </a:r>
            <a:r>
              <a:rPr lang="en-US" b="1" dirty="0"/>
              <a:t>system adaptability</a:t>
            </a:r>
            <a:r>
              <a:rPr lang="en-US" dirty="0"/>
              <a:t> to different environments without internal code chang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architecture separates </a:t>
            </a:r>
            <a:r>
              <a:rPr lang="en-US" b="1" dirty="0"/>
              <a:t>control logic</a:t>
            </a:r>
            <a:r>
              <a:rPr lang="en-US" dirty="0"/>
              <a:t> (defined in configuration files) from </a:t>
            </a:r>
            <a:r>
              <a:rPr lang="en-US" b="1" dirty="0"/>
              <a:t>functional logic</a:t>
            </a:r>
            <a:r>
              <a:rPr lang="en-US" dirty="0"/>
              <a:t> (UFs and adaptors), ensuring that the system remains configurable, extensible, and maintainable as workflows and environments evolve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F5A1ED-F2B7-0797-A25D-996CBE5C52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680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BB22B-997B-FEE5-7DB9-D8C130224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EFC243-AD1C-06DC-7D37-E5B947A2BE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E1FC36-8E99-3D03-A512-E5EDC8E0A9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B587C1-D2D7-5A06-8498-62F51AE254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9002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7ADE6-34D2-C6C8-380E-E081AA59F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EF08BC-7DD8-533C-DB5A-289200EA4F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0F4A1D-EA50-E6D1-BDFB-99081189ED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5CB61F-3722-A8F9-DEA1-BC7CFFB32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1717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09239-4316-2A3B-482E-6805F8582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A2E45F-0466-4D0C-CCA0-E1088A356D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55E417-CCC5-8B5E-80D6-42669C96B2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C6583D-DDC6-F536-390B-488277553C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7155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47A3C-29B9-5A5D-4001-3C8D3F741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136CFA-5D74-EE25-8DA7-1EB79E294B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5654B9-388F-4D6E-3B2E-5DEB9E9942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BD17C-6633-0D39-9C2B-6B565394F6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9338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46FECA-DF9C-A915-CD22-864A003BC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A363F9-35FD-5452-D687-7C7D88214C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141BC4-919C-C16E-A286-6A19067FE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9DB81-D958-123B-BD35-2D1F0E080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1287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ED7F1-3AFF-11C3-82ED-7E07B8106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A83185-73B8-4B3F-D4B4-6825E10218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451652-3660-8101-3532-3BFA3D181C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821EDE-EF05-7D71-42AE-36F83E95D5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630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AA6AEA-51CB-496C-13CC-3EB1948D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6CAF5A-E4DC-F5B1-9C64-0C1E93463A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57383A-A2DD-C3AE-ECB9-409A634DC7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3D881-6AB3-057F-304B-4B7FF5178F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397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91FD7-8244-5F0A-FE14-FAA6EF18F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F1BA1C-E614-24FC-8433-8F3FD5C885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43BB3A-7C3A-20AC-7369-ABDE4CACBF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3504E2-6BE5-80A1-4C19-30B6004C40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31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500D3-5B57-EBC0-7D91-6F8C622D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450CD2-C035-7498-970D-A15E850424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1D1F26-DBF3-5430-4E46-329D1182D2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710C60-CC80-FC48-6AF0-BE1D261D84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4118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52FC5-5FFB-6F25-B7AD-3CF06F6202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C6F5FC-47AD-D33A-F09A-162990713C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1F369B-C8A6-0CBD-4981-4578BD207F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day, what happened when a PM goes down for example? In this case compensation can be offered by the workflow model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E4F410-64C2-E6E5-C922-98F8DDF9A6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0543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FC886-24FC-507A-75D6-5A8A56156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72A311-6D70-F4B4-0ED9-5A1692FD7B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9D1715-1C26-088A-EBEE-898A8D014E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3F0C8A-F9BD-5463-CC3A-B162637353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7757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9C04D-E42C-A534-DD39-2957A70D5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3F3823-7637-E22D-64CA-2C72650FB1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84A2C6-9A98-B2FA-EB49-21B18E5422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82107F-B5E8-4A43-EF98-DE7A353A56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0035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857E2-2B92-7CF1-990D-A787A1BED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15345F-BC2A-C5DA-5CC1-AFF8C2A11B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E8B60D-7770-90EA-4C6E-519A0B3772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E05F9-94AD-4254-2F1E-EE19BEC215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629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00830-D003-F456-0946-6876DFBBB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3ECEF1-4136-6653-C57B-2AE2220823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C1C1E4-DCA6-00F2-9418-F432E8C43B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68947-5465-1D7A-F48E-030EBDD29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420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2E9A7-4591-15FD-2566-6F75FD6BF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D102B8-57A6-5EAA-4BCB-53CC0D54C1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85AFB8-B6E9-DE9B-241B-1DE90557C2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DFB6E2-9506-5FB0-AAC1-3CE86831F2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7220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79EEAC-0022-10FA-8034-BEAFABE57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16E571-0206-9A50-A3DD-385CAD4020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03B624-92A0-A868-6AD0-1AB4041C4E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B2A9F-8B75-3937-BF34-D3B200412B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9797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48313-27DC-34EC-469C-03467DED9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B610D6-DF41-2B65-CF81-A5281160FF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D1505F-9578-ED14-8791-874877F86E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3CD1BF-92B6-E231-8B7D-D9C6BCC51B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972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95FB5-D61E-B663-3A7B-806AFA2D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F95789-1A22-9E71-45EA-6B50DC57D7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DDF906-A72A-66EB-F990-B4D4161611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nical workflows are structured sequences of tasks that coordinate care across clinicians and systems. For example, a workflow can describe a patient admission or sepsis diagnosis.</a:t>
            </a:r>
          </a:p>
          <a:p>
            <a:endParaRPr lang="en-US" dirty="0"/>
          </a:p>
          <a:p>
            <a:r>
              <a:rPr lang="en-US" dirty="0"/>
              <a:t>Each hospital typically implement its workflows based on published clinical guidelines by health organizations the WHO or the BC Sepsis Network. </a:t>
            </a:r>
          </a:p>
          <a:p>
            <a:endParaRPr lang="en-US" dirty="0"/>
          </a:p>
          <a:p>
            <a:r>
              <a:rPr lang="en-US" dirty="0"/>
              <a:t>And this is an example of Sepsis diagnosis workflow </a:t>
            </a:r>
            <a:r>
              <a:rPr lang="en-US" dirty="0" err="1"/>
              <a:t>guidline</a:t>
            </a:r>
            <a:r>
              <a:rPr lang="en-US" dirty="0"/>
              <a:t>, describing in a stepwise manner the tasks need to be done for the diagnosis and treatment to take place.</a:t>
            </a:r>
          </a:p>
          <a:p>
            <a:endParaRPr lang="en-US" dirty="0"/>
          </a:p>
          <a:p>
            <a:r>
              <a:rPr lang="en-US" dirty="0"/>
              <a:t>Workflows implementations across hospitals vary due to local policies, resource availability, and IT infrastructure.</a:t>
            </a:r>
          </a:p>
          <a:p>
            <a:endParaRPr lang="en-US" dirty="0"/>
          </a:p>
          <a:p>
            <a:r>
              <a:rPr lang="en-US" dirty="0"/>
              <a:t>But where these workflows are implemented and </a:t>
            </a:r>
            <a:r>
              <a:rPr lang="en-US" dirty="0" err="1"/>
              <a:t>exectuted</a:t>
            </a:r>
            <a:r>
              <a:rPr lang="en-US" dirty="0"/>
              <a:t>.?</a:t>
            </a:r>
          </a:p>
          <a:p>
            <a:endParaRPr lang="en-US" dirty="0"/>
          </a:p>
          <a:p>
            <a:r>
              <a:rPr lang="en-US" dirty="0"/>
              <a:t>Clinical Workflow Systems, or CWSs, are digital subsystems embedded in medical products, like patient monitors or HIS, that are responsible for implementing, executing and managing these workflows.</a:t>
            </a:r>
          </a:p>
          <a:p>
            <a:endParaRPr lang="en-US" dirty="0"/>
          </a:p>
          <a:p>
            <a:r>
              <a:rPr lang="en-US" dirty="0"/>
              <a:t>They manage and track workflow execution, interact with hospital environments, and communicate with both clinicians and external systems.</a:t>
            </a:r>
          </a:p>
          <a:p>
            <a:endParaRPr lang="en-US" dirty="0"/>
          </a:p>
          <a:p>
            <a:r>
              <a:rPr lang="en-US" dirty="0"/>
              <a:t>Key stakeholders include clinicians, caregivers, hospital administrators, and engineers from medical device vendor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763A99-0E55-CFB2-8B78-F9FB7F08DC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61711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70195-17AD-2F7E-E2B8-381F23D0C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49E8-E6E4-30B6-AC6C-B55A459D3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539551-51BF-C9B7-7315-34442CD8AF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existing approaches address individual aspects of these stages (e.g., BPMN for workflow structuring), the proposed solution offers a more integrated</a:t>
            </a:r>
          </a:p>
          <a:p>
            <a:r>
              <a:rPr lang="en-US" dirty="0"/>
              <a:t>and generalizable design, explicitly tailored for clinical workflow variability and evol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8CADA-3D37-41E9-4A6B-74CBCAFB3F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592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E83B5-FCF6-53CF-5BD5-44D16918C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46213A-8EEF-3748-0E11-8935C2A01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23DAFF-6EC7-95E7-D9DA-BA08DB9F36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D4281-3CDF-3065-ADA0-5AEBE23A6E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84345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04D7F-F616-DE08-16FD-DDDB982AB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147AF6-C6BB-87F6-57A8-771C9C7442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EB85F4-E418-75DF-BC1E-B2FFA0994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782BD0-7730-53EF-CC62-05D8B6E797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4586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6D614-6575-CD3D-1128-20A99C290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9F363E-54D7-D2B0-243F-C981C6802F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351A14-3AA2-9B1C-29D8-5D7FFF640A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6EB170-AFB6-2716-824B-05D70EA18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3045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9BA25-637E-FDC9-048D-A0A0252F1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DF9DAE-D2F2-C779-DAE6-1E5F292828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CEFFAF-2613-0EFA-7508-75ACA5A1B4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4E79C9-D516-8AF2-2AB7-93FED39D61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9283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638E4-7C2B-8E43-97D7-C86C116D7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DACA79-5644-AC8B-5012-14137C3402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43E66D-A13D-A3B3-0E01-4B4864EA56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20C3E3-BF03-D526-A36D-9F7F4E853D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53612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56354A-CD7E-5E73-D518-2BF870040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7C672-F2EE-DC3A-9DD0-6ADD11333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7E6342-8DE0-C134-8CE9-BF9B59D165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33F794-55FF-6697-FDB7-D5CF68D14E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30527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06D18-B0B3-DA01-ADF3-EC8C105F85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9208C5-35AB-B15C-B8F6-F2F1ABB278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7E79E3-6D72-0279-C532-C000220F58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B309DF-652A-F09C-737F-1DA895DA18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03035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184EA-CD7C-824E-8C65-39A1F6300A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90FDFC-4F35-3602-B480-2E4A273A9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D77D7B-C569-0BD1-B31E-4365CC9434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0B96A7-69A7-7657-BD49-D69E665A40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67931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EA7A2-4CE1-1E4C-E3F1-6C56E5777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8DCE75-72EF-7D45-8108-D4647B8152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250CC6-3B7E-062A-92AC-3798FFA716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75AB08-1FF2-6DF6-F77E-7EFC9F2D2D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314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64AD26-9D1C-1A3D-1E30-AE6245E9C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87D566-CEED-413B-5740-AE24945257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9BC987-C1E7-93E6-222A-BB41CB265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This thesis was based on the given challenge that workflows in the current CWS are hard coded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And to adapt workflows on different hospital needs the system need to be customized and a different system release to be maintained for each hospital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Also the CWS need to be capable of adapting in different hospital environments without needing of creating a new release for this </a:t>
            </a:r>
          </a:p>
          <a:p>
            <a:pPr marL="628650" lvl="1" indent="-171450">
              <a:buFontTx/>
              <a:buChar char="-"/>
            </a:pPr>
            <a:endParaRPr lang="en-US" dirty="0"/>
          </a:p>
          <a:p>
            <a:r>
              <a:rPr lang="en-US" dirty="0"/>
              <a:t>- The solution is to design an evolvable CWS. But what evolvable means?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While evolvability is still not clearly defined, it is generally considered as the ability of a system to accommodate changes with minimal cost while maintaining its architectural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integrity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- Evolvability in our project context means a CWS that can customize its workflows and adapt to different hospitals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sytste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 without needing to produce a different system release and thus without code level changes.</a:t>
            </a: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80EF32-1C89-1F04-ED05-22F41219DE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8175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8F471-E016-0FE4-B135-C46DB1972C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106E89-B483-74A9-9DCF-0D9E63FF97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BD2A5A-0503-6BB7-5760-524A24D795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B8E50-E540-F100-998E-BED9AEB4A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65490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DCC9D5-4743-D4F9-2E94-5C4F254B7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6AE549-95EC-3E24-6CF2-C2F01CA6DB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26F03B-E82E-396B-BCC9-255D6112B4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70233-FD98-1ADA-935E-1FCE9C4D06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03773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CDD83-B4F9-3FC8-C250-490CF2452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8AFB5A-9B74-596D-C47E-A6B7560D94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76C479-D484-1784-46B7-D514C41F44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8EEBDE-C6AE-3CEB-3C83-3CDF9E8EC9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71605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35EB84-DB9E-F5FA-CD51-7764A5069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279F71-DD04-4F0B-0194-B0B7402C07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427713-F897-F7EB-7289-35CEE393E4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D6743F-174D-4F0E-2448-3E94FDD149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45685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894C5-6F80-6888-D94C-92777597AD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28B0-4C7D-18D6-94DE-D2E58ADCA8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BF1FF3-4CA7-F224-AE52-C8F4245DFF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66FFD4-668C-61D5-63C7-F9226D7F7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046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B6EAC-C7FB-266B-0452-6B08E0EA3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969125-B361-A99A-1B08-E733ED268F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5CE5B-8562-653B-3495-65D111D47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To address this problem, I conducted lit review in two main topics</a:t>
            </a:r>
          </a:p>
          <a:p>
            <a:pPr marL="171450" indent="-171450">
              <a:buFontTx/>
              <a:buChar char="-"/>
            </a:pPr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For system evolvability Studies 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-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B55B-74DE-0C37-DE86-75C63F01D3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093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AA4F3-0891-64AF-53B8-3880786D1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5A62D5-1906-D028-736F-880BD28D44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289F52-70B9-2D4C-F387-8DD6ABD20C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88B566-3CB9-1FB5-D366-BA5BCFD8E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363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1E4891-0681-C70A-9167-77B0242D8A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18B67-989A-6451-C1DE-F900C7E781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1A0BA6-4BBE-F9D2-2453-33E1D155B3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5C46A0-0F44-FFFF-4279-B42D97A1E4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78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E6F15-D7B9-7B6E-4283-84EB5EFE1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930C95-56EE-3961-0289-D3D52D4153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1D16DA-A72E-AD3E-164C-2DA2670FB8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In the simplified notation, "transitions" refer to directional control flows between components, not Petri net transition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EBACB-21A6-76E6-DB7C-255D27F4B4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23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24284C-B923-D254-77A1-3A9347FF91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FD835F-01AA-0988-30E8-2EAD2DC36D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352311-2BCF-B598-9786-EE0DDC00FF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687A6-F07D-F07C-CFD5-422FA51849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477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9.xml"/><Relationship Id="rId1" Type="http://schemas.openxmlformats.org/officeDocument/2006/relationships/customXml" Target="../../customXml/item10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1.xml"/><Relationship Id="rId1" Type="http://schemas.openxmlformats.org/officeDocument/2006/relationships/customXml" Target="../../customXml/item52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customXml" Target="../../customXml/item88.xml"/><Relationship Id="rId1" Type="http://schemas.openxmlformats.org/officeDocument/2006/relationships/customXml" Target="../../customXml/item28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17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4.xml"/><Relationship Id="rId1" Type="http://schemas.openxmlformats.org/officeDocument/2006/relationships/customXml" Target="../../customXml/item7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3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34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6.png"/><Relationship Id="rId2" Type="http://schemas.openxmlformats.org/officeDocument/2006/relationships/customXml" Target="../../customXml/item45.xml"/><Relationship Id="rId1" Type="http://schemas.openxmlformats.org/officeDocument/2006/relationships/customXml" Target="../../customXml/item41.xml"/><Relationship Id="rId6" Type="http://schemas.openxmlformats.org/officeDocument/2006/relationships/image" Target="../media/image35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2.xml"/><Relationship Id="rId1" Type="http://schemas.openxmlformats.org/officeDocument/2006/relationships/customXml" Target="../../customXml/item36.xml"/><Relationship Id="rId6" Type="http://schemas.openxmlformats.org/officeDocument/2006/relationships/image" Target="../media/image37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4.xml"/><Relationship Id="rId1" Type="http://schemas.openxmlformats.org/officeDocument/2006/relationships/customXml" Target="../../customXml/item29.xml"/><Relationship Id="rId6" Type="http://schemas.openxmlformats.org/officeDocument/2006/relationships/image" Target="../media/image3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0.png"/><Relationship Id="rId2" Type="http://schemas.openxmlformats.org/officeDocument/2006/relationships/customXml" Target="../../customXml/item86.xml"/><Relationship Id="rId1" Type="http://schemas.openxmlformats.org/officeDocument/2006/relationships/customXml" Target="../../customXml/item42.xml"/><Relationship Id="rId6" Type="http://schemas.openxmlformats.org/officeDocument/2006/relationships/image" Target="../media/image39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9.xml"/><Relationship Id="rId1" Type="http://schemas.openxmlformats.org/officeDocument/2006/relationships/customXml" Target="../../customXml/item57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5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74.xml"/><Relationship Id="rId1" Type="http://schemas.openxmlformats.org/officeDocument/2006/relationships/customXml" Target="../../customXml/item89.xml"/><Relationship Id="rId6" Type="http://schemas.openxmlformats.org/officeDocument/2006/relationships/image" Target="../media/image41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microsoft.com/office/2007/relationships/media" Target="../media/media1.mp4"/><Relationship Id="rId7" Type="http://schemas.openxmlformats.org/officeDocument/2006/relationships/image" Target="../media/image17.png"/><Relationship Id="rId2" Type="http://schemas.openxmlformats.org/officeDocument/2006/relationships/customXml" Target="../../customXml/item47.xml"/><Relationship Id="rId1" Type="http://schemas.openxmlformats.org/officeDocument/2006/relationships/customXml" Target="../../customXml/item7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3.xml"/><Relationship Id="rId4" Type="http://schemas.openxmlformats.org/officeDocument/2006/relationships/video" Target="../media/media1.mp4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6.xml"/><Relationship Id="rId1" Type="http://schemas.openxmlformats.org/officeDocument/2006/relationships/customXml" Target="../../customXml/item13.xml"/><Relationship Id="rId6" Type="http://schemas.openxmlformats.org/officeDocument/2006/relationships/image" Target="../media/image43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5.png"/><Relationship Id="rId2" Type="http://schemas.openxmlformats.org/officeDocument/2006/relationships/customXml" Target="../../customXml/item49.xml"/><Relationship Id="rId1" Type="http://schemas.openxmlformats.org/officeDocument/2006/relationships/customXml" Target="../../customXml/item70.xml"/><Relationship Id="rId6" Type="http://schemas.openxmlformats.org/officeDocument/2006/relationships/image" Target="../media/image44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0.xml"/><Relationship Id="rId1" Type="http://schemas.openxmlformats.org/officeDocument/2006/relationships/customXml" Target="../../customXml/item19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55.xml"/><Relationship Id="rId1" Type="http://schemas.openxmlformats.org/officeDocument/2006/relationships/customXml" Target="../../customXml/item64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79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65.xml"/><Relationship Id="rId1" Type="http://schemas.openxmlformats.org/officeDocument/2006/relationships/customXml" Target="../../customXml/item6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1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62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9.png"/><Relationship Id="rId2" Type="http://schemas.openxmlformats.org/officeDocument/2006/relationships/customXml" Target="../../customXml/item25.xml"/><Relationship Id="rId1" Type="http://schemas.openxmlformats.org/officeDocument/2006/relationships/customXml" Target="../../customXml/item8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90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0.xml"/><Relationship Id="rId1" Type="http://schemas.openxmlformats.org/officeDocument/2006/relationships/customXml" Target="../../customXml/item96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33.xml"/><Relationship Id="rId1" Type="http://schemas.openxmlformats.org/officeDocument/2006/relationships/customXml" Target="../../customXml/item98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7.png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85.xml"/><Relationship Id="rId6" Type="http://schemas.openxmlformats.org/officeDocument/2006/relationships/image" Target="../media/image46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6.png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71.xml"/><Relationship Id="rId6" Type="http://schemas.openxmlformats.org/officeDocument/2006/relationships/image" Target="../media/image4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3.xml"/><Relationship Id="rId1" Type="http://schemas.openxmlformats.org/officeDocument/2006/relationships/customXml" Target="../../customXml/item54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3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0.png"/><Relationship Id="rId2" Type="http://schemas.openxmlformats.org/officeDocument/2006/relationships/customXml" Target="../../customXml/item81.xml"/><Relationship Id="rId1" Type="http://schemas.openxmlformats.org/officeDocument/2006/relationships/customXml" Target="../../customXml/item20.xml"/><Relationship Id="rId6" Type="http://schemas.openxmlformats.org/officeDocument/2006/relationships/image" Target="../media/image49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2.png"/><Relationship Id="rId2" Type="http://schemas.openxmlformats.org/officeDocument/2006/relationships/customXml" Target="../../customXml/item56.xml"/><Relationship Id="rId1" Type="http://schemas.openxmlformats.org/officeDocument/2006/relationships/customXml" Target="../../customXml/item84.xml"/><Relationship Id="rId6" Type="http://schemas.openxmlformats.org/officeDocument/2006/relationships/image" Target="../media/image51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0.xml"/><Relationship Id="rId1" Type="http://schemas.openxmlformats.org/officeDocument/2006/relationships/customXml" Target="../../customXml/item38.xml"/><Relationship Id="rId6" Type="http://schemas.openxmlformats.org/officeDocument/2006/relationships/image" Target="../media/image53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58.xml"/><Relationship Id="rId1" Type="http://schemas.openxmlformats.org/officeDocument/2006/relationships/customXml" Target="../../customXml/item7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5.png"/><Relationship Id="rId2" Type="http://schemas.openxmlformats.org/officeDocument/2006/relationships/customXml" Target="../../customXml/item95.xml"/><Relationship Id="rId1" Type="http://schemas.openxmlformats.org/officeDocument/2006/relationships/customXml" Target="../../customXml/item4.xml"/><Relationship Id="rId6" Type="http://schemas.openxmlformats.org/officeDocument/2006/relationships/image" Target="../media/image54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7.xml"/><Relationship Id="rId1" Type="http://schemas.openxmlformats.org/officeDocument/2006/relationships/customXml" Target="../../customXml/item6.xml"/><Relationship Id="rId6" Type="http://schemas.openxmlformats.org/officeDocument/2006/relationships/image" Target="../media/image56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8.png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50.xml"/><Relationship Id="rId6" Type="http://schemas.openxmlformats.org/officeDocument/2006/relationships/image" Target="../media/image57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60.png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73.xml"/><Relationship Id="rId6" Type="http://schemas.openxmlformats.org/officeDocument/2006/relationships/image" Target="../media/image59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7.xml"/><Relationship Id="rId1" Type="http://schemas.openxmlformats.org/officeDocument/2006/relationships/customXml" Target="../../customXml/item48.xml"/><Relationship Id="rId6" Type="http://schemas.openxmlformats.org/officeDocument/2006/relationships/image" Target="../media/image61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99.xml"/><Relationship Id="rId1" Type="http://schemas.openxmlformats.org/officeDocument/2006/relationships/customXml" Target="../../customXml/item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59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91.xml"/><Relationship Id="rId1" Type="http://schemas.openxmlformats.org/officeDocument/2006/relationships/customXml" Target="../../customXml/item2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0.xml"/><Relationship Id="rId1" Type="http://schemas.openxmlformats.org/officeDocument/2006/relationships/customXml" Target="../../customXml/item76.xml"/><Relationship Id="rId6" Type="http://schemas.openxmlformats.org/officeDocument/2006/relationships/image" Target="../media/image20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2.png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17.pn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43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B5E80A-31D5-FA6E-CA9A-83FC5BDE73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4829" y="0"/>
            <a:ext cx="1638529" cy="49720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23D56D-2602-1CA4-D934-27C1FEA954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16/7/202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625C764-DDCB-4F05-7113-2932D8159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upervisors: </a:t>
            </a:r>
            <a:r>
              <a:rPr lang="en-GB" dirty="0"/>
              <a:t>Johan Lukkien (TU/e) – Aly A. Syed (Philips)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37346D-2BA7-B9D4-6229-2291F2EA0D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921" y="4091252"/>
            <a:ext cx="4297680" cy="182880"/>
          </a:xfrm>
        </p:spPr>
        <p:txBody>
          <a:bodyPr/>
          <a:lstStyle/>
          <a:p>
            <a:r>
              <a:rPr lang="en-US" dirty="0"/>
              <a:t>Student: Konstantinos Chanioglou MSc C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0D8A56-E6CD-5FD7-E320-F1D29502F0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Designing an Evolvable Clinical Workflow System</a:t>
            </a:r>
          </a:p>
        </p:txBody>
      </p:sp>
      <p:sp>
        <p:nvSpPr>
          <p:cNvPr id="2" name="Title 2" hidden="1">
            <a:extLst>
              <a:ext uri="{FF2B5EF4-FFF2-40B4-BE49-F238E27FC236}">
                <a16:creationId xmlns:a16="http://schemas.microsoft.com/office/drawing/2014/main" id="{0747556C-BFCF-7ED2-06D4-00F0C3CF9E8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719138"/>
            <a:ext cx="8132763" cy="1714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alpha val="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esentation cover slide example: Vertical white logo on blue backgroun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6E59523-72DF-D75E-8908-87C3A25496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7061192" y="-1103318"/>
            <a:ext cx="747275" cy="3198768"/>
          </a:xfrm>
          <a:prstGeom prst="rect">
            <a:avLst/>
          </a:prstGeom>
        </p:spPr>
      </p:pic>
      <p:pic>
        <p:nvPicPr>
          <p:cNvPr id="5" name="Picture 4" descr="A black and red logo&#10;&#10;AI-generated content may be incorrect.">
            <a:extLst>
              <a:ext uri="{FF2B5EF4-FFF2-40B4-BE49-F238E27FC236}">
                <a16:creationId xmlns:a16="http://schemas.microsoft.com/office/drawing/2014/main" id="{7EB85358-6ED7-82E3-7A6B-050EB52833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6359" y="752341"/>
            <a:ext cx="2964429" cy="80942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7555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006E93-70CD-FF3A-2AE2-765DE44F7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AE9C4-7E13-7431-4FAB-6D0F5523B9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EC002-2302-8765-55F7-08C80E9FC4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DE896A-6611-9180-AEE0-2AD0D1A69F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2096" y="1344010"/>
            <a:ext cx="8138160" cy="633559"/>
          </a:xfrm>
        </p:spPr>
        <p:txBody>
          <a:bodyPr/>
          <a:lstStyle/>
          <a:p>
            <a:r>
              <a:rPr lang="en-US" sz="1200" dirty="0"/>
              <a:t>Workflows vary on multiple points:</a:t>
            </a:r>
          </a:p>
          <a:p>
            <a:r>
              <a:rPr lang="en-US" sz="1200" dirty="0"/>
              <a:t>All must be configurable, no code changes required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6631CA-7758-B383-FC9A-41026ABC7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C2D23B-65CE-EABB-879F-DC2FD3D290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2C03FD5-3E19-C349-A12D-AD1FEDD24EE1}"/>
              </a:ext>
            </a:extLst>
          </p:cNvPr>
          <p:cNvSpPr txBox="1">
            <a:spLocks/>
          </p:cNvSpPr>
          <p:nvPr/>
        </p:nvSpPr>
        <p:spPr>
          <a:xfrm>
            <a:off x="282109" y="3318499"/>
            <a:ext cx="8138160" cy="964648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en-US" sz="1200" dirty="0"/>
              <a:t>PESTEL Analysis Insights:</a:t>
            </a:r>
          </a:p>
          <a:p>
            <a:r>
              <a:rPr lang="en-US" sz="1200" dirty="0"/>
              <a:t>Category: </a:t>
            </a:r>
          </a:p>
          <a:p>
            <a:pPr marL="147600" lvl="1" indent="0">
              <a:buNone/>
            </a:pPr>
            <a:r>
              <a:rPr lang="en-US" sz="1200" b="1" dirty="0"/>
              <a:t>1</a:t>
            </a:r>
            <a:r>
              <a:rPr lang="en-US" sz="1200" dirty="0"/>
              <a:t> = Workflow Configurability</a:t>
            </a:r>
          </a:p>
          <a:p>
            <a:pPr marL="147600" lvl="1" indent="0">
              <a:buNone/>
            </a:pPr>
            <a:r>
              <a:rPr lang="en-US" sz="1200" b="1" dirty="0"/>
              <a:t>2</a:t>
            </a:r>
            <a:r>
              <a:rPr lang="en-US" sz="1200" dirty="0"/>
              <a:t> = Integration &amp; Deployment </a:t>
            </a:r>
          </a:p>
          <a:p>
            <a:pPr lvl="1"/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050CDE5-0894-97B8-76F7-35DC36AB00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061339"/>
              </p:ext>
            </p:extLst>
          </p:nvPr>
        </p:nvGraphicFramePr>
        <p:xfrm>
          <a:off x="2597508" y="2723669"/>
          <a:ext cx="6455052" cy="1671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2472">
                  <a:extLst>
                    <a:ext uri="{9D8B030D-6E8A-4147-A177-3AD203B41FA5}">
                      <a16:colId xmlns:a16="http://schemas.microsoft.com/office/drawing/2014/main" val="3613844526"/>
                    </a:ext>
                  </a:extLst>
                </a:gridCol>
                <a:gridCol w="2065020">
                  <a:extLst>
                    <a:ext uri="{9D8B030D-6E8A-4147-A177-3AD203B41FA5}">
                      <a16:colId xmlns:a16="http://schemas.microsoft.com/office/drawing/2014/main" val="896253974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4086013470"/>
                    </a:ext>
                  </a:extLst>
                </a:gridCol>
                <a:gridCol w="708660">
                  <a:extLst>
                    <a:ext uri="{9D8B030D-6E8A-4147-A177-3AD203B41FA5}">
                      <a16:colId xmlns:a16="http://schemas.microsoft.com/office/drawing/2014/main" val="3661936047"/>
                    </a:ext>
                  </a:extLst>
                </a:gridCol>
              </a:tblGrid>
              <a:tr h="23196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Domain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Key Changes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Impacts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Category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4201620119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Political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Guideline accessibility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Workflow content change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1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069651206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Economic</a:t>
                      </a:r>
                      <a:endParaRPr lang="en-US" sz="1100" dirty="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Resource Availability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System &amp; Staff dependencies/ Task timing 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1703542969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Soci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atient care &amp; clinical preference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Task logic/order 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543340348"/>
                  </a:ext>
                </a:extLst>
              </a:tr>
              <a:tr h="23196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Technologic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Infrastructure &amp; Support System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Integration &amp; deployment method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2744395088"/>
                  </a:ext>
                </a:extLst>
              </a:tr>
              <a:tr h="20353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Environment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Local practice &amp; Org. structure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ctor roles, coordination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986065910"/>
                  </a:ext>
                </a:extLst>
              </a:tr>
              <a:tr h="23196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/>
                        <a:t>Legal</a:t>
                      </a:r>
                      <a:endParaRPr lang="en-US" sz="1100"/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Guidelines &amp; Privacy laws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Workflow rules, secure integration</a:t>
                      </a:r>
                    </a:p>
                  </a:txBody>
                  <a:tcPr marL="71114" marR="71114" marT="35557" marB="35557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1, 2</a:t>
                      </a:r>
                    </a:p>
                  </a:txBody>
                  <a:tcPr marL="71114" marR="71114" marT="35557" marB="35557" anchor="ctr"/>
                </a:tc>
                <a:extLst>
                  <a:ext uri="{0D108BD9-81ED-4DB2-BD59-A6C34878D82A}">
                    <a16:rowId xmlns:a16="http://schemas.microsoft.com/office/drawing/2014/main" val="347592977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03C5C3A-0EFC-2137-0717-A489C13EE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6314363"/>
              </p:ext>
            </p:extLst>
          </p:nvPr>
        </p:nvGraphicFramePr>
        <p:xfrm>
          <a:off x="4960247" y="240030"/>
          <a:ext cx="3276844" cy="233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0171">
                  <a:extLst>
                    <a:ext uri="{9D8B030D-6E8A-4147-A177-3AD203B41FA5}">
                      <a16:colId xmlns:a16="http://schemas.microsoft.com/office/drawing/2014/main" val="1107354657"/>
                    </a:ext>
                  </a:extLst>
                </a:gridCol>
                <a:gridCol w="1786673">
                  <a:extLst>
                    <a:ext uri="{9D8B030D-6E8A-4147-A177-3AD203B41FA5}">
                      <a16:colId xmlns:a16="http://schemas.microsoft.com/office/drawing/2014/main" val="1147358892"/>
                    </a:ext>
                  </a:extLst>
                </a:gridCol>
              </a:tblGrid>
              <a:tr h="2581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/>
                        <a:t>Workflow Component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Variation Point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9849033"/>
                  </a:ext>
                </a:extLst>
              </a:tr>
              <a:tr h="215440">
                <a:tc rowSpan="4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Task</a:t>
                      </a:r>
                      <a:endParaRPr lang="en-US" sz="1100" dirty="0"/>
                    </a:p>
                  </a:txBody>
                  <a:tcPr anchor="ctr">
                    <a:solidFill>
                      <a:srgbClr val="E7E7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Precondition/Postcond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1944685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Execution Time Constrai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4579869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Ac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2286764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Tas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5300237"/>
                  </a:ext>
                </a:extLst>
              </a:tr>
              <a:tr h="2154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Transition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Entire Trans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5936852"/>
                  </a:ext>
                </a:extLst>
              </a:tr>
              <a:tr h="215440">
                <a:tc rowSpan="2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Condition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Condition Express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7997713"/>
                  </a:ext>
                </a:extLst>
              </a:tr>
              <a:tr h="215440"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Condi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4743245"/>
                  </a:ext>
                </a:extLst>
              </a:tr>
              <a:tr h="2154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Event</a:t>
                      </a:r>
                      <a:endParaRPr lang="en-US" sz="1100" dirty="0"/>
                    </a:p>
                  </a:txBody>
                  <a:tcPr anchor="ctr">
                    <a:solidFill>
                      <a:srgbClr val="CBCC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Entire Ev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087342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2773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4F9F4-4257-3330-340D-F81D58CB1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70083F-1444-2B29-9A4F-05EA17B0F0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2DA1B-BE8C-B226-1CD6-B62E475E6D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9A4871-5EAF-86B0-CFE5-B8E62B2A26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45881"/>
            <a:ext cx="8658453" cy="3973197"/>
          </a:xfrm>
        </p:spPr>
        <p:txBody>
          <a:bodyPr/>
          <a:lstStyle/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Workflow Configurability</a:t>
            </a:r>
          </a:p>
          <a:p>
            <a:pPr lvl="3">
              <a:buSzPct val="100000"/>
            </a:pPr>
            <a:r>
              <a:rPr lang="en-US" sz="1200" dirty="0"/>
              <a:t>Reconfigure workflows without code changes</a:t>
            </a:r>
          </a:p>
          <a:p>
            <a:pPr lvl="3">
              <a:buSzPct val="100000"/>
            </a:pPr>
            <a:r>
              <a:rPr lang="en-US" sz="1200" dirty="0"/>
              <a:t>Supports local custom clinical preference</a:t>
            </a:r>
          </a:p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System Adaptability, Flexibility &amp; Integrability</a:t>
            </a:r>
          </a:p>
          <a:p>
            <a:pPr lvl="3">
              <a:buSzPct val="100000"/>
            </a:pPr>
            <a:r>
              <a:rPr lang="en-US" sz="1200" dirty="0"/>
              <a:t>Integrates with EMR/EHR/CDSS/etc.</a:t>
            </a:r>
          </a:p>
          <a:p>
            <a:pPr lvl="3">
              <a:buSzPct val="100000"/>
            </a:pPr>
            <a:r>
              <a:rPr lang="en-US" sz="1200" dirty="0"/>
              <a:t>Handles protocol, interface, and data format variations</a:t>
            </a:r>
          </a:p>
          <a:p>
            <a:pPr marL="490500" lvl="1" indent="-342900">
              <a:buSzPct val="100000"/>
              <a:buFont typeface="+mj-lt"/>
              <a:buAutoNum type="arabicPeriod"/>
            </a:pPr>
            <a:r>
              <a:rPr lang="en-US" sz="1200" b="1" dirty="0"/>
              <a:t>Deployment Flexibility &amp; Adaptability</a:t>
            </a:r>
          </a:p>
          <a:p>
            <a:pPr lvl="3">
              <a:buSzPct val="100000"/>
            </a:pPr>
            <a:r>
              <a:rPr lang="en-US" sz="1200" dirty="0"/>
              <a:t>Supports centralized (cloud/server)</a:t>
            </a:r>
          </a:p>
          <a:p>
            <a:pPr lvl="3">
              <a:buSzPct val="100000"/>
            </a:pPr>
            <a:r>
              <a:rPr lang="en-US" sz="1200" dirty="0"/>
              <a:t>Per-patient (edge/device) use cases</a:t>
            </a:r>
          </a:p>
          <a:p>
            <a:pPr lvl="1"/>
            <a:endParaRPr lang="en-US" sz="1200" dirty="0"/>
          </a:p>
          <a:p>
            <a:pPr lvl="1"/>
            <a:r>
              <a:rPr lang="en-US" sz="1200" b="1" dirty="0"/>
              <a:t>Change Scenarios for each requirements have been construed</a:t>
            </a:r>
          </a:p>
          <a:p>
            <a:pPr lvl="1"/>
            <a:r>
              <a:rPr lang="en-US" sz="1200" b="1" dirty="0"/>
              <a:t>Key driver Qualities</a:t>
            </a:r>
            <a:r>
              <a:rPr lang="en-US" sz="1200" dirty="0"/>
              <a:t>:</a:t>
            </a:r>
          </a:p>
          <a:p>
            <a:pPr lvl="2"/>
            <a:r>
              <a:rPr lang="en-US" sz="1200" dirty="0"/>
              <a:t>Configurability, Adaptability &amp; Flexibility, Integrability</a:t>
            </a:r>
          </a:p>
          <a:p>
            <a:pPr lvl="1"/>
            <a:r>
              <a:rPr lang="en-US" sz="1200" b="1" dirty="0"/>
              <a:t>Supportive Qualities</a:t>
            </a:r>
            <a:r>
              <a:rPr lang="en-US" sz="1200" dirty="0"/>
              <a:t>:</a:t>
            </a:r>
          </a:p>
          <a:p>
            <a:pPr lvl="2"/>
            <a:r>
              <a:rPr lang="en-US" sz="1200" dirty="0"/>
              <a:t>Modularity, Maintainability, Extensibility, Scalability, Upgradability, Robustness, Resilienc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DBDF1D-8512-D557-36AE-310AAC3A5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Requirements - System Qual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9DC2D1-8F04-A46D-5451-3D1DFB8837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53444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B1C80-DE89-9CCA-6D63-6626F350E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CDD51-96E3-3E13-DDA9-7F3387659A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AF82E6-BE9B-2C53-3C2A-05055ABDFC6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52AA91-E812-E972-43F4-A0AA05065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95" y="86900"/>
            <a:ext cx="8138160" cy="719137"/>
          </a:xfrm>
        </p:spPr>
        <p:txBody>
          <a:bodyPr/>
          <a:lstStyle/>
          <a:p>
            <a:r>
              <a:rPr lang="en-US" dirty="0"/>
              <a:t>System Architecture Over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108A56-EE9A-1306-D9F4-D7277C4A1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95A273-1817-21FB-731E-2E15F2F67BE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" r="-831"/>
          <a:stretch>
            <a:fillRect/>
          </a:stretch>
        </p:blipFill>
        <p:spPr>
          <a:xfrm>
            <a:off x="1158239" y="464992"/>
            <a:ext cx="6503343" cy="3287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EAC278-30B2-D66B-2C93-3B8A07F91B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7380" y="574457"/>
            <a:ext cx="2166936" cy="11700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EF9ABE-4D6B-2AC8-DB76-EBA0AE361F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7359" y="1893954"/>
            <a:ext cx="1514475" cy="7181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3D77A4-3438-10DA-85E0-D6D15B69A4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1834" y="1762648"/>
            <a:ext cx="1081089" cy="9915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5487FBB-4D73-0B43-70B6-2735820259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205" y="391444"/>
            <a:ext cx="1223010" cy="34423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83BA663-3044-7F49-2CEA-F02C1673D8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2758" y="241895"/>
            <a:ext cx="1174603" cy="35855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0854BA8-D89E-F8E9-6CFE-75D10F4B14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2908" y="385095"/>
            <a:ext cx="1309850" cy="34423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46F91E-B399-C18C-2E50-AD4CEF7A6B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0273" y="1414466"/>
            <a:ext cx="1267002" cy="80973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CCDCCAA-331D-6908-06D4-B2BD91DE1C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47497" y="983762"/>
            <a:ext cx="95263" cy="2095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72A900F-DFD5-2A87-6A09-C6A5C592A7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8447" y="1819335"/>
            <a:ext cx="95263" cy="20957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AC4C47D-E1CF-ED40-9D0A-B34164749F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3847" y="2593086"/>
            <a:ext cx="95263" cy="20957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143B5B9-17AE-88EA-3672-1008736C24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65590" y="3348179"/>
            <a:ext cx="95263" cy="20957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FCDFFA9-B695-72D6-AE87-CD87C70D47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2123" y="2386395"/>
            <a:ext cx="124319" cy="5496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99238F7-7FD7-CBA2-6048-8B8802668DD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15760" y="1540454"/>
            <a:ext cx="181000" cy="80021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684887E-23E2-DF70-7306-CFCA54CA66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15760" y="683204"/>
            <a:ext cx="181000" cy="80021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0044FCD-EB19-D6B6-40C8-45AEB18952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8336" y="394190"/>
            <a:ext cx="533474" cy="247685"/>
          </a:xfrm>
          <a:prstGeom prst="rect">
            <a:avLst/>
          </a:prstGeom>
        </p:spPr>
      </p:pic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0376B9C0-83AF-4DF8-71DE-020BD04BE3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582398"/>
              </p:ext>
            </p:extLst>
          </p:nvPr>
        </p:nvGraphicFramePr>
        <p:xfrm>
          <a:off x="1582533" y="3914043"/>
          <a:ext cx="5828676" cy="894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3824455865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311102585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953090766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Workflow Editor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nables creation and reconfiguration of workflow definitions; ensures syntactic correctness and clinical semantic validity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896663223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DB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workflow definitions in a structured configuration format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32672406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8894003C-4B9D-432A-8FB3-7E5A8BAF3C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185418"/>
              </p:ext>
            </p:extLst>
          </p:nvPr>
        </p:nvGraphicFramePr>
        <p:xfrm>
          <a:off x="1567341" y="3734816"/>
          <a:ext cx="5828676" cy="116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699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Execution Engine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Instantiates and orchestrates workflows </a:t>
                      </a:r>
                      <a:r>
                        <a:rPr lang="en-US" sz="1000" dirty="0"/>
                        <a:t>based on definitions, </a:t>
                      </a:r>
                      <a:r>
                        <a:rPr lang="en-US" sz="1000" b="1" dirty="0"/>
                        <a:t>triggers</a:t>
                      </a:r>
                      <a:r>
                        <a:rPr lang="en-US" sz="1000" dirty="0"/>
                        <a:t> appropriate </a:t>
                      </a:r>
                      <a:r>
                        <a:rPr lang="en-US" sz="1000" b="1" dirty="0"/>
                        <a:t>UFs</a:t>
                      </a:r>
                      <a:r>
                        <a:rPr lang="en-US" sz="1000" dirty="0"/>
                        <a:t> for task execution, </a:t>
                      </a:r>
                      <a:r>
                        <a:rPr lang="en-US" sz="1000" b="1" dirty="0"/>
                        <a:t>manage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workflows</a:t>
                      </a:r>
                      <a:r>
                        <a:rPr lang="en-US" sz="1000" dirty="0"/>
                        <a:t> instances </a:t>
                      </a:r>
                      <a:r>
                        <a:rPr lang="en-US" sz="1000" b="1" dirty="0"/>
                        <a:t>states</a:t>
                      </a:r>
                      <a:r>
                        <a:rPr lang="en-US" sz="1000" dirty="0"/>
                        <a:t>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I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hows workflow state, collects input, and handles manual tasks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Monitoring DB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tores workflow state for auditing and failure recovery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02700019-183B-F9A7-2B17-14FFB2D7B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007803"/>
              </p:ext>
            </p:extLst>
          </p:nvPr>
        </p:nvGraphicFramePr>
        <p:xfrm>
          <a:off x="1567341" y="3834471"/>
          <a:ext cx="5828676" cy="1230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1073579322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2977864008"/>
                    </a:ext>
                  </a:extLst>
                </a:gridCol>
              </a:tblGrid>
              <a:tr h="25109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2832773869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External System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Devices and systems like patient monitors, EHRs, etc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944832872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Adaptors</a:t>
                      </a:r>
                      <a:endParaRPr lang="en-US" sz="100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Interface</a:t>
                      </a:r>
                      <a:r>
                        <a:rPr lang="en-US" sz="1000" dirty="0"/>
                        <a:t> with different types of external systems; </a:t>
                      </a:r>
                      <a:r>
                        <a:rPr lang="en-US" sz="1000" b="1" dirty="0"/>
                        <a:t>manage interoperability </a:t>
                      </a:r>
                      <a:r>
                        <a:rPr lang="en-US" sz="1000" dirty="0"/>
                        <a:t>(protocols, data formats); </a:t>
                      </a:r>
                      <a:r>
                        <a:rPr lang="en-US" sz="1000" b="1" dirty="0"/>
                        <a:t>maintain patient-to-system mappings </a:t>
                      </a:r>
                      <a:r>
                        <a:rPr lang="en-US" sz="1000" dirty="0"/>
                        <a:t>and resolve invocation priorities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69141797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Message Broker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Facilitates</a:t>
                      </a:r>
                      <a:r>
                        <a:rPr lang="en-US" sz="1000" dirty="0"/>
                        <a:t> </a:t>
                      </a:r>
                      <a:r>
                        <a:rPr lang="en-US" sz="1000" b="1" dirty="0"/>
                        <a:t>asynchronous</a:t>
                      </a:r>
                      <a:r>
                        <a:rPr lang="en-US" sz="1000" dirty="0"/>
                        <a:t> publish-subscribe </a:t>
                      </a:r>
                      <a:r>
                        <a:rPr lang="en-US" sz="1000" b="1" dirty="0"/>
                        <a:t>messaging</a:t>
                      </a:r>
                      <a:r>
                        <a:rPr lang="en-US" sz="1000" dirty="0"/>
                        <a:t> between UFs and adaptors; ensures complete </a:t>
                      </a:r>
                      <a:r>
                        <a:rPr lang="en-US" sz="1000" b="1" dirty="0"/>
                        <a:t>decoupling between UFs and adaptors</a:t>
                      </a:r>
                      <a:r>
                        <a:rPr lang="en-US" sz="1000" dirty="0"/>
                        <a:t>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526903581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939C4C91-477A-BD09-D387-A9335D6C8A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430646"/>
              </p:ext>
            </p:extLst>
          </p:nvPr>
        </p:nvGraphicFramePr>
        <p:xfrm>
          <a:off x="1582533" y="4175598"/>
          <a:ext cx="5828676" cy="580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287">
                  <a:extLst>
                    <a:ext uri="{9D8B030D-6E8A-4147-A177-3AD203B41FA5}">
                      <a16:colId xmlns:a16="http://schemas.microsoft.com/office/drawing/2014/main" val="489341641"/>
                    </a:ext>
                  </a:extLst>
                </a:gridCol>
                <a:gridCol w="4712389">
                  <a:extLst>
                    <a:ext uri="{9D8B030D-6E8A-4147-A177-3AD203B41FA5}">
                      <a16:colId xmlns:a16="http://schemas.microsoft.com/office/drawing/2014/main" val="4226424174"/>
                    </a:ext>
                  </a:extLst>
                </a:gridCol>
              </a:tblGrid>
              <a:tr h="22611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Component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Role in System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180182221"/>
                  </a:ext>
                </a:extLst>
              </a:tr>
              <a:tr h="2699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Unit Functions</a:t>
                      </a:r>
                      <a:endParaRPr lang="en-US" sz="1000" dirty="0"/>
                    </a:p>
                  </a:txBody>
                  <a:tcPr marL="49779" marR="49779" marT="24890" marB="2489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ingle clinical responsibility services; Encapsulates functional logic; enable configurable and reusable workflows.</a:t>
                      </a:r>
                    </a:p>
                  </a:txBody>
                  <a:tcPr marL="49779" marR="49779" marT="24890" marB="24890" anchor="ctr"/>
                </a:tc>
                <a:extLst>
                  <a:ext uri="{0D108BD9-81ED-4DB2-BD59-A6C34878D82A}">
                    <a16:rowId xmlns:a16="http://schemas.microsoft.com/office/drawing/2014/main" val="4184730067"/>
                  </a:ext>
                </a:extLst>
              </a:tr>
            </a:tbl>
          </a:graphicData>
        </a:graphic>
      </p:graphicFrame>
      <p:pic>
        <p:nvPicPr>
          <p:cNvPr id="47" name="Picture 46">
            <a:extLst>
              <a:ext uri="{FF2B5EF4-FFF2-40B4-BE49-F238E27FC236}">
                <a16:creationId xmlns:a16="http://schemas.microsoft.com/office/drawing/2014/main" id="{DACA1CE3-60AB-AF7C-38B3-3553AAC715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0279" y="1221322"/>
            <a:ext cx="1651281" cy="194097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0869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A15EA-678B-D933-26EA-0F21094D2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3AE194F-E87E-FE9D-2738-FCC7224E15F6}"/>
              </a:ext>
            </a:extLst>
          </p:cNvPr>
          <p:cNvSpPr/>
          <p:nvPr/>
        </p:nvSpPr>
        <p:spPr>
          <a:xfrm>
            <a:off x="7074328" y="1013460"/>
            <a:ext cx="1887549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0FAAC71-7505-DD7C-E8C6-563491E7385A}"/>
              </a:ext>
            </a:extLst>
          </p:cNvPr>
          <p:cNvSpPr/>
          <p:nvPr/>
        </p:nvSpPr>
        <p:spPr>
          <a:xfrm>
            <a:off x="4750228" y="1013460"/>
            <a:ext cx="2145872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EA08CFC-6A31-7841-A204-2973F599A1AA}"/>
              </a:ext>
            </a:extLst>
          </p:cNvPr>
          <p:cNvSpPr/>
          <p:nvPr/>
        </p:nvSpPr>
        <p:spPr>
          <a:xfrm>
            <a:off x="2555926" y="1013460"/>
            <a:ext cx="2016074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0F3525E-98DC-AE99-EE3B-0F375BC134D3}"/>
              </a:ext>
            </a:extLst>
          </p:cNvPr>
          <p:cNvSpPr/>
          <p:nvPr/>
        </p:nvSpPr>
        <p:spPr>
          <a:xfrm>
            <a:off x="182123" y="1013460"/>
            <a:ext cx="2195575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D76682-6C37-E595-1EE3-4BA10E79A0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06E71F-B1E4-AD2A-2A77-2FAE6C019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Core Idea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74672C-8530-A7CA-7F16-16B8628AC3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B41A6A7-BA7E-E62B-614B-C29CA8669C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5353" y="1478455"/>
            <a:ext cx="2122346" cy="1410994"/>
          </a:xfrm>
        </p:spPr>
        <p:txBody>
          <a:bodyPr/>
          <a:lstStyle/>
          <a:p>
            <a:pPr marL="0" indent="0">
              <a:lnSpc>
                <a:spcPct val="150000"/>
              </a:lnSpc>
              <a:buSzPct val="100000"/>
              <a:buNone/>
            </a:pPr>
            <a:r>
              <a:rPr lang="en-US" sz="1100" b="1" dirty="0">
                <a:solidFill>
                  <a:schemeClr val="bg1"/>
                </a:solidFill>
              </a:rPr>
              <a:t>Separation</a:t>
            </a:r>
            <a:r>
              <a:rPr lang="en-US" sz="1100" dirty="0">
                <a:solidFill>
                  <a:schemeClr val="bg1"/>
                </a:solidFill>
              </a:rPr>
              <a:t> of </a:t>
            </a:r>
            <a:r>
              <a:rPr lang="en-US" sz="1100" b="1" dirty="0">
                <a:solidFill>
                  <a:schemeClr val="bg1"/>
                </a:solidFill>
              </a:rPr>
              <a:t>control logic </a:t>
            </a:r>
            <a:r>
              <a:rPr lang="en-US" sz="1100" dirty="0">
                <a:solidFill>
                  <a:schemeClr val="bg1"/>
                </a:solidFill>
              </a:rPr>
              <a:t>and </a:t>
            </a:r>
            <a:r>
              <a:rPr lang="en-US" sz="1100" b="1" dirty="0">
                <a:solidFill>
                  <a:schemeClr val="bg1"/>
                </a:solidFill>
              </a:rPr>
              <a:t>functional logic. Workflows</a:t>
            </a:r>
            <a:r>
              <a:rPr lang="en-US" sz="1100" dirty="0">
                <a:solidFill>
                  <a:schemeClr val="bg1"/>
                </a:solidFill>
              </a:rPr>
              <a:t> are defined in </a:t>
            </a:r>
            <a:r>
              <a:rPr lang="en-US" sz="1100" b="1" dirty="0">
                <a:solidFill>
                  <a:schemeClr val="bg1"/>
                </a:solidFill>
              </a:rPr>
              <a:t>configuration files </a:t>
            </a:r>
            <a:r>
              <a:rPr lang="en-US" sz="1100" dirty="0">
                <a:solidFill>
                  <a:schemeClr val="bg1"/>
                </a:solidFill>
              </a:rPr>
              <a:t>and interpreted at </a:t>
            </a:r>
            <a:r>
              <a:rPr lang="en-US" sz="1100" b="1" dirty="0">
                <a:solidFill>
                  <a:schemeClr val="bg1"/>
                </a:solidFill>
              </a:rPr>
              <a:t>runtime</a:t>
            </a:r>
            <a:r>
              <a:rPr lang="en-US" sz="1100" dirty="0">
                <a:solidFill>
                  <a:schemeClr val="bg1"/>
                </a:solidFill>
              </a:rPr>
              <a:t> by an </a:t>
            </a:r>
            <a:r>
              <a:rPr lang="en-US" sz="1100" b="1" dirty="0">
                <a:solidFill>
                  <a:schemeClr val="bg1"/>
                </a:solidFill>
              </a:rPr>
              <a:t>execution engine</a:t>
            </a:r>
            <a:r>
              <a:rPr lang="en-US" sz="1100" dirty="0">
                <a:solidFill>
                  <a:schemeClr val="bg1"/>
                </a:solidFill>
              </a:rPr>
              <a:t> which triggers UF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042AC1-945E-F01B-D63F-DDE7C4B1B794}"/>
              </a:ext>
            </a:extLst>
          </p:cNvPr>
          <p:cNvSpPr txBox="1"/>
          <p:nvPr/>
        </p:nvSpPr>
        <p:spPr>
          <a:xfrm>
            <a:off x="2636520" y="1451282"/>
            <a:ext cx="1935480" cy="11717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Clinical tasks </a:t>
            </a:r>
            <a:r>
              <a:rPr lang="en-US" sz="1200" dirty="0">
                <a:solidFill>
                  <a:schemeClr val="bg1"/>
                </a:solidFill>
              </a:rPr>
              <a:t>are implemented as </a:t>
            </a:r>
            <a:r>
              <a:rPr lang="en-US" sz="1200" b="1" dirty="0">
                <a:solidFill>
                  <a:schemeClr val="bg1"/>
                </a:solidFill>
              </a:rPr>
              <a:t>modular, reusable Unit Functions (UFs)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5219A2-C894-4BA2-84EB-6B2791678FE3}"/>
              </a:ext>
            </a:extLst>
          </p:cNvPr>
          <p:cNvSpPr txBox="1"/>
          <p:nvPr/>
        </p:nvSpPr>
        <p:spPr>
          <a:xfrm>
            <a:off x="4776769" y="1430506"/>
            <a:ext cx="2081275" cy="11717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daptors</a:t>
            </a:r>
            <a:r>
              <a:rPr lang="en-US" sz="1200" dirty="0">
                <a:solidFill>
                  <a:schemeClr val="bg1"/>
                </a:solidFill>
              </a:rPr>
              <a:t> enable interaction with </a:t>
            </a:r>
            <a:r>
              <a:rPr lang="en-US" sz="1200" b="1" dirty="0">
                <a:solidFill>
                  <a:schemeClr val="bg1"/>
                </a:solidFill>
              </a:rPr>
              <a:t>diverse hospital systems</a:t>
            </a:r>
            <a:r>
              <a:rPr lang="en-US" sz="1200" dirty="0">
                <a:solidFill>
                  <a:schemeClr val="bg1"/>
                </a:solidFill>
              </a:rPr>
              <a:t>, ensuring </a:t>
            </a:r>
            <a:r>
              <a:rPr lang="en-US" sz="1200" b="1" dirty="0">
                <a:solidFill>
                  <a:schemeClr val="bg1"/>
                </a:solidFill>
              </a:rPr>
              <a:t>adaptability</a:t>
            </a:r>
            <a:r>
              <a:rPr lang="en-US" sz="1200" dirty="0">
                <a:solidFill>
                  <a:schemeClr val="bg1"/>
                </a:solidFill>
              </a:rPr>
              <a:t> and </a:t>
            </a:r>
            <a:r>
              <a:rPr lang="en-US" sz="1200" b="1" dirty="0">
                <a:solidFill>
                  <a:schemeClr val="bg1"/>
                </a:solidFill>
              </a:rPr>
              <a:t>interoperability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60FB51-9F70-015A-7F82-D3BB250D8BD4}"/>
              </a:ext>
            </a:extLst>
          </p:cNvPr>
          <p:cNvSpPr txBox="1"/>
          <p:nvPr/>
        </p:nvSpPr>
        <p:spPr>
          <a:xfrm>
            <a:off x="7093962" y="1430506"/>
            <a:ext cx="1916361" cy="14487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UFs – Adaptors decoupling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/>
                </a:solidFill>
              </a:rPr>
              <a:t>through message broker. This supports further the CWS adaptability to the external environment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A27C80-5049-93B9-19AB-1F0E7906A5A9}"/>
              </a:ext>
            </a:extLst>
          </p:cNvPr>
          <p:cNvSpPr txBox="1"/>
          <p:nvPr/>
        </p:nvSpPr>
        <p:spPr>
          <a:xfrm>
            <a:off x="1177229" y="1104900"/>
            <a:ext cx="27859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273DDB-F9D8-D8F1-D9D5-A650EDEE2598}"/>
              </a:ext>
            </a:extLst>
          </p:cNvPr>
          <p:cNvSpPr txBox="1"/>
          <p:nvPr/>
        </p:nvSpPr>
        <p:spPr>
          <a:xfrm>
            <a:off x="3478022" y="1122021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B640D7B-B044-34DE-333E-EE53370A3CA0}"/>
              </a:ext>
            </a:extLst>
          </p:cNvPr>
          <p:cNvSpPr txBox="1"/>
          <p:nvPr/>
        </p:nvSpPr>
        <p:spPr>
          <a:xfrm>
            <a:off x="5748827" y="1104900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0F8DCB-3F8C-EF0D-0BE0-6B11D3B810A7}"/>
              </a:ext>
            </a:extLst>
          </p:cNvPr>
          <p:cNvSpPr txBox="1"/>
          <p:nvPr/>
        </p:nvSpPr>
        <p:spPr>
          <a:xfrm>
            <a:off x="7917051" y="1104900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ADC77E1-592E-35E9-ABA4-EC58E517461D}"/>
              </a:ext>
            </a:extLst>
          </p:cNvPr>
          <p:cNvSpPr/>
          <p:nvPr/>
        </p:nvSpPr>
        <p:spPr>
          <a:xfrm>
            <a:off x="3628225" y="3078295"/>
            <a:ext cx="2016074" cy="192024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71D51E-F27F-6D42-1A72-6F8885BA3DF7}"/>
              </a:ext>
            </a:extLst>
          </p:cNvPr>
          <p:cNvSpPr txBox="1"/>
          <p:nvPr/>
        </p:nvSpPr>
        <p:spPr>
          <a:xfrm>
            <a:off x="3638042" y="3488221"/>
            <a:ext cx="1996440" cy="133568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chemeClr val="bg1"/>
                </a:solidFill>
              </a:rPr>
              <a:t>Separation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b="1" dirty="0">
                <a:solidFill>
                  <a:schemeClr val="bg1"/>
                </a:solidFill>
              </a:rPr>
              <a:t>of system components responsibilities </a:t>
            </a:r>
            <a:r>
              <a:rPr lang="en-US" sz="1100" dirty="0">
                <a:solidFill>
                  <a:schemeClr val="bg1"/>
                </a:solidFill>
              </a:rPr>
              <a:t>supports modularity, which makes the system support almost all the selected qualiti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A7047B-0959-F100-96DA-48ECC52C21ED}"/>
              </a:ext>
            </a:extLst>
          </p:cNvPr>
          <p:cNvSpPr txBox="1"/>
          <p:nvPr/>
        </p:nvSpPr>
        <p:spPr>
          <a:xfrm>
            <a:off x="4559728" y="3118889"/>
            <a:ext cx="32004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2400" b="1" dirty="0">
                <a:solidFill>
                  <a:schemeClr val="bg1"/>
                </a:solidFill>
              </a:rPr>
              <a:t>5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48652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7" grpId="0" animBg="1"/>
      <p:bldP spid="26" grpId="0" animBg="1"/>
      <p:bldP spid="25" grpId="0" animBg="1"/>
      <p:bldP spid="13" grpId="0" build="p"/>
      <p:bldP spid="15" grpId="0"/>
      <p:bldP spid="17" grpId="0"/>
      <p:bldP spid="19" grpId="0"/>
      <p:bldP spid="20" grpId="0"/>
      <p:bldP spid="21" grpId="0"/>
      <p:bldP spid="22" grpId="0"/>
      <p:bldP spid="23" grpId="0"/>
      <p:bldP spid="29" grpId="0" animBg="1"/>
      <p:bldP spid="30" grpId="0"/>
      <p:bldP spid="3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9D8E86-F5D1-1AE3-CDF8-FA69EB042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CEDA0B-9BE1-24FA-0C94-0303531F24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F3587-E219-2AB1-1C59-14EF2A46700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406B0F1-247F-1C89-CC9F-FC2215EF4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 - Workflow Reconfigur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84ED14-60A6-40F1-DC6D-010C642C1C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 descr="A diagram of a workflow&#10;&#10;AI-generated content may be incorrect.">
            <a:extLst>
              <a:ext uri="{FF2B5EF4-FFF2-40B4-BE49-F238E27FC236}">
                <a16:creationId xmlns:a16="http://schemas.microsoft.com/office/drawing/2014/main" id="{FD77511C-10C4-3749-3BE1-CAFA77EDA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4080" y="865395"/>
            <a:ext cx="4546876" cy="375232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8758C7D-3C68-7751-96ED-404425C2C2B6}"/>
              </a:ext>
            </a:extLst>
          </p:cNvPr>
          <p:cNvSpPr txBox="1"/>
          <p:nvPr/>
        </p:nvSpPr>
        <p:spPr>
          <a:xfrm>
            <a:off x="3581986" y="4617218"/>
            <a:ext cx="2079674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: Workflow Reconfigura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3090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51C5A-13A5-C2CA-FF24-D347D46BF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6BEF5-CC19-F8E6-1DF6-A2A7A69FF62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BEE2A-680C-3F6E-59BB-B1C09D000B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C7D9A7-1BBA-F13A-F232-D02B75A3D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0329B9-9655-7CC7-524F-7BF97ECBE4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 descr="A diagram of a system monitoring&#10;&#10;AI-generated content may be incorrect.">
            <a:extLst>
              <a:ext uri="{FF2B5EF4-FFF2-40B4-BE49-F238E27FC236}">
                <a16:creationId xmlns:a16="http://schemas.microsoft.com/office/drawing/2014/main" id="{FCE8AABA-D159-CB10-3F3C-0E4B808EE7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9678" y="902125"/>
            <a:ext cx="5223828" cy="1669625"/>
          </a:xfrm>
          <a:prstGeom prst="rect">
            <a:avLst/>
          </a:prstGeom>
        </p:spPr>
      </p:pic>
      <p:pic>
        <p:nvPicPr>
          <p:cNvPr id="9" name="Picture 8" descr="A diagram of a system&#10;&#10;AI-generated content may be incorrect.">
            <a:extLst>
              <a:ext uri="{FF2B5EF4-FFF2-40B4-BE49-F238E27FC236}">
                <a16:creationId xmlns:a16="http://schemas.microsoft.com/office/drawing/2014/main" id="{11FF1C8C-EEF0-F5AE-3B61-53D72993F6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3040" y="2949411"/>
            <a:ext cx="5223828" cy="160154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EF41DC-69E4-F768-B7EC-85BB7C5B045F}"/>
              </a:ext>
            </a:extLst>
          </p:cNvPr>
          <p:cNvSpPr txBox="1"/>
          <p:nvPr/>
        </p:nvSpPr>
        <p:spPr>
          <a:xfrm>
            <a:off x="3008865" y="2631123"/>
            <a:ext cx="2605454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1: Workflow Execution Trigg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0312CB-7EA0-A311-E5A8-F87BA0B92643}"/>
              </a:ext>
            </a:extLst>
          </p:cNvPr>
          <p:cNvSpPr txBox="1"/>
          <p:nvPr/>
        </p:nvSpPr>
        <p:spPr>
          <a:xfrm>
            <a:off x="2276534" y="4640301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Manual Task Execution &amp; System Components Interac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9228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83AACF-7CDA-9E04-FD57-85D6D3E99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2120AA-131E-BE70-1490-5CC0367C87E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4E228-CE72-7443-94F8-BFCCE6518B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872A9F-4867-8A31-79F5-490E730A7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 – Adaptation to environ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68629E-6111-67B2-08A7-35EDB75FB3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B99FDDD-4DF0-A42E-F031-75BD3DABD541}"/>
              </a:ext>
            </a:extLst>
          </p:cNvPr>
          <p:cNvSpPr txBox="1"/>
          <p:nvPr/>
        </p:nvSpPr>
        <p:spPr>
          <a:xfrm>
            <a:off x="2985194" y="4048122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: UFs – Adaptors – External Systems Interaction</a:t>
            </a:r>
          </a:p>
        </p:txBody>
      </p:sp>
      <p:pic>
        <p:nvPicPr>
          <p:cNvPr id="7" name="Picture 6" descr="A diagram of a system&#10;&#10;AI-generated content may be incorrect.">
            <a:extLst>
              <a:ext uri="{FF2B5EF4-FFF2-40B4-BE49-F238E27FC236}">
                <a16:creationId xmlns:a16="http://schemas.microsoft.com/office/drawing/2014/main" id="{B9168076-99F1-84BE-5A8C-D11AC302F5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0160" y="1095378"/>
            <a:ext cx="6898471" cy="283565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0734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B3DF5-C2AE-B9DA-2925-4F4A9877B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F65BC4-08FD-89E3-87B7-9D1A318646C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891B1B-EE94-B342-F048-410C135C49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F1C77-3A53-9137-F5D9-E93CA9359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Behavio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DE914A-5903-BC72-478C-D59EFD9CB0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B8FC980-D639-667D-5637-369BC276109B}"/>
              </a:ext>
            </a:extLst>
          </p:cNvPr>
          <p:cNvSpPr txBox="1"/>
          <p:nvPr/>
        </p:nvSpPr>
        <p:spPr>
          <a:xfrm>
            <a:off x="3667644" y="3236089"/>
            <a:ext cx="2605454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Message Broker Initiation Phase</a:t>
            </a:r>
          </a:p>
        </p:txBody>
      </p:sp>
      <p:pic>
        <p:nvPicPr>
          <p:cNvPr id="7" name="Picture 6" descr="A diagram of a message&#10;&#10;AI-generated content may be incorrect.">
            <a:extLst>
              <a:ext uri="{FF2B5EF4-FFF2-40B4-BE49-F238E27FC236}">
                <a16:creationId xmlns:a16="http://schemas.microsoft.com/office/drawing/2014/main" id="{81C47689-CC6F-64A6-9D33-8EC74E7EDA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7188" y="1792436"/>
            <a:ext cx="5143500" cy="12916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0876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7E1FDF-3FA6-F83B-DA6D-BF1302F9E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8CC8B3-2A3D-EA0A-FD84-3AB48655F20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5D2F60-4FD8-AF5F-9320-32F103BCCC4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2A26E8-4852-5A10-EB36-7E53BD5A6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Flexibility &amp; adaptabi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7A3EAE-0967-FCA3-8C39-4E68FFD37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340C98E-41DE-FC90-2433-08967B0D4B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249" y="2061110"/>
            <a:ext cx="4320331" cy="20511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081F27-911D-AAB3-4CA8-5A1F0373DD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1546" y="2152022"/>
            <a:ext cx="4357205" cy="20511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CC589A-2994-87AB-5FF2-2EAF01B87159}"/>
              </a:ext>
            </a:extLst>
          </p:cNvPr>
          <p:cNvSpPr txBox="1"/>
          <p:nvPr/>
        </p:nvSpPr>
        <p:spPr>
          <a:xfrm>
            <a:off x="1107950" y="4174888"/>
            <a:ext cx="2277207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er Patient Deploy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42B86F-7549-17AC-45FA-A11F8BC9A33E}"/>
              </a:ext>
            </a:extLst>
          </p:cNvPr>
          <p:cNvSpPr txBox="1"/>
          <p:nvPr/>
        </p:nvSpPr>
        <p:spPr>
          <a:xfrm>
            <a:off x="5758844" y="4177476"/>
            <a:ext cx="2277207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Centralized Deploy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F3B3CC-93DC-6589-A61E-C56DE1F8D36E}"/>
              </a:ext>
            </a:extLst>
          </p:cNvPr>
          <p:cNvSpPr txBox="1"/>
          <p:nvPr/>
        </p:nvSpPr>
        <p:spPr>
          <a:xfrm>
            <a:off x="580292" y="1174998"/>
            <a:ext cx="4572000" cy="71558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ntral: Server/cloud (e.g., hospital networ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dge: Per-patient devices (e.g., ambulance monit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xed mode possible with synchroniza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658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9EC27-EAE0-79F0-BD05-CFDA78515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F3335B-8CA5-60F7-82CE-ECAFFDC1ED0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2FAD5-62E3-8E17-44F7-87F67C45C08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8A42926-3F79-77AE-1859-17DB3128D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lignment &amp; Trade off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E4B090-3A10-0835-7393-8B418776B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AEAD75-B1DC-DD03-B95E-FA42333A3A31}"/>
              </a:ext>
            </a:extLst>
          </p:cNvPr>
          <p:cNvSpPr txBox="1"/>
          <p:nvPr/>
        </p:nvSpPr>
        <p:spPr>
          <a:xfrm>
            <a:off x="633046" y="1016736"/>
            <a:ext cx="4572000" cy="103874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200" dirty="0"/>
              <a:t>Requirements Alignme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Workflow Configurability: Config files + Execution Engine + U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ystem Adaptability: Adaptors + Message Bro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Deployment Flexibility: Modular deployable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21521FB-25ED-129D-5F90-53A480423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57460"/>
              </p:ext>
            </p:extLst>
          </p:nvPr>
        </p:nvGraphicFramePr>
        <p:xfrm>
          <a:off x="1554480" y="2452795"/>
          <a:ext cx="6035040" cy="2068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7520">
                  <a:extLst>
                    <a:ext uri="{9D8B030D-6E8A-4147-A177-3AD203B41FA5}">
                      <a16:colId xmlns:a16="http://schemas.microsoft.com/office/drawing/2014/main" val="3302709297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1793355130"/>
                    </a:ext>
                  </a:extLst>
                </a:gridCol>
              </a:tblGrid>
              <a:tr h="30367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Design Choic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/>
                        <a:t>Trade-Off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2634832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Centralized Engine for workflow orche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/>
                        <a:t>Single point of failu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6608353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ecoupled UFs &amp; Workflows (Control &amp; Functional Logi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Higher upfront development eff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481437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daptors for External Integration (vs Blackboar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Maintenance when APIs/protocols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9880580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Mapping Logic Inside Adaptors (clear separation of concer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Possible redundant message process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248455"/>
                  </a:ext>
                </a:extLst>
              </a:tr>
              <a:tr h="3036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istributed Components for Tes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Debugging becomes multi-layer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772062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DCCFE43-1BC3-DD45-997E-7EBE61C7842E}"/>
              </a:ext>
            </a:extLst>
          </p:cNvPr>
          <p:cNvSpPr txBox="1"/>
          <p:nvPr/>
        </p:nvSpPr>
        <p:spPr>
          <a:xfrm>
            <a:off x="3928110" y="4551815"/>
            <a:ext cx="128778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Faced Trade Off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6821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C4294F-C888-C3A2-8CE8-5035923821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Designing an Evolvable Clinical Workflow System - Master Thesis Presentation – Konstantinos Chanioglou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0042" y="1008833"/>
            <a:ext cx="8138160" cy="3484800"/>
          </a:xfrm>
        </p:spPr>
        <p:txBody>
          <a:bodyPr/>
          <a:lstStyle/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Introduction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Thesis Objectives &amp; Research Questions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Literature Review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Requirements Analysis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System Architecture &amp; Design Concepts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Proof of Concept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Evaluation </a:t>
            </a:r>
          </a:p>
          <a:p>
            <a:pPr marL="228600" indent="-228600">
              <a:buSzPct val="100000"/>
              <a:buFont typeface="+mj-lt"/>
              <a:buAutoNum type="arabicPeriod"/>
            </a:pPr>
            <a:r>
              <a:rPr lang="en-US" sz="1200" dirty="0"/>
              <a:t>Contributio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2" y="339512"/>
            <a:ext cx="8138160" cy="71913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13129E-745F-9556-1810-6526AC98D9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8CE10-9752-1F18-07DF-E26199F69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0A5ACE-5709-B622-AD6B-63B5EA846F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12C81-C2DB-E9F3-DC8E-4259F15DB0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934B47-BC1F-4A9D-876F-34269015A4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1037660"/>
            <a:ext cx="8138160" cy="348480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Proof of Concept Goal</a:t>
            </a:r>
            <a:r>
              <a:rPr lang="en-US" sz="1200" dirty="0"/>
              <a:t>: Demonstrate that the system design is feasible and satisfies requirements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3B93A9-CE38-9001-B4CD-F646EF523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49F477-B11C-9C91-D9A5-171E61EC06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E8F727-2024-3F86-3ECB-810B032828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9169" y="1756797"/>
            <a:ext cx="5383852" cy="248779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3131123-9423-E8DB-5ECB-F3EE838C0B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19490"/>
              </p:ext>
            </p:extLst>
          </p:nvPr>
        </p:nvGraphicFramePr>
        <p:xfrm>
          <a:off x="83819" y="1830304"/>
          <a:ext cx="3224477" cy="243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5529">
                  <a:extLst>
                    <a:ext uri="{9D8B030D-6E8A-4147-A177-3AD203B41FA5}">
                      <a16:colId xmlns:a16="http://schemas.microsoft.com/office/drawing/2014/main" val="3728420302"/>
                    </a:ext>
                  </a:extLst>
                </a:gridCol>
                <a:gridCol w="1908948">
                  <a:extLst>
                    <a:ext uri="{9D8B030D-6E8A-4147-A177-3AD203B41FA5}">
                      <a16:colId xmlns:a16="http://schemas.microsoft.com/office/drawing/2014/main" val="2772982215"/>
                    </a:ext>
                  </a:extLst>
                </a:gridCol>
              </a:tblGrid>
              <a:tr h="242181">
                <a:tc gridSpan="2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Design – Implementation Mappin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484652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omponent (Design)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mplemented With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00854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Ed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Modeler (BPM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348712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Workflow Eng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Zeeb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9836319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Camunda Tasklist + Oper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7359055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Monitoring 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lasticsear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0344961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U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External worker contain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6721383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Adap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EST-based adaptors per syste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3099372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Message Bro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RabbitMQ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5161144"/>
                  </a:ext>
                </a:extLst>
              </a:tr>
              <a:tr h="242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/>
                        <a:t>External Syste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dirty="0"/>
                        <a:t>Simulated Two PMs types + EM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459732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9726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F06E27-203E-D4AC-B59D-2E3CAE0DD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556601-D21C-C65D-D5D8-1925E55AF29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55195-70D2-5116-89C0-9441C39BD07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2C007F-5473-D410-C92B-6B008CD3E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173162"/>
            <a:ext cx="8138160" cy="719137"/>
          </a:xfrm>
        </p:spPr>
        <p:txBody>
          <a:bodyPr/>
          <a:lstStyle/>
          <a:p>
            <a:r>
              <a:rPr lang="en-US" dirty="0"/>
              <a:t>Proof of Concept - Vide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0C4ECE-8BE1-D5C3-ADC7-D9862D7B50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2" name="0713(7)">
            <a:hlinkClick r:id="" action="ppaction://media"/>
            <a:extLst>
              <a:ext uri="{FF2B5EF4-FFF2-40B4-BE49-F238E27FC236}">
                <a16:creationId xmlns:a16="http://schemas.microsoft.com/office/drawing/2014/main" id="{C9505C25-EE43-9F1E-20D7-3EAEA08DEF31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103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66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868443-6D57-D1F5-3664-BAF573BA1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8E13E7-69A3-536B-E23D-50F2900443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0EAFE8-4217-A11B-8518-60CB10DF45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997DF5-234C-8A61-21F0-E2F2DFD52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96" y="180298"/>
            <a:ext cx="8138160" cy="719137"/>
          </a:xfrm>
        </p:spPr>
        <p:txBody>
          <a:bodyPr/>
          <a:lstStyle/>
          <a:p>
            <a:r>
              <a:rPr lang="en-US" dirty="0"/>
              <a:t>Proof of Concept - Resili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3FC7A0-AE46-1E88-9A56-84ABDBED68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8658C31-C589-11EA-CB3A-37792EC31D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787" y="735809"/>
            <a:ext cx="8246959" cy="391913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7983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3E53DC-3459-C96B-3492-9CF45B9D9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182633-3D01-0F96-A130-44221F0571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E77F02-1ADE-D641-BF32-96FE0D0988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12959B4-4109-A501-B0D9-9B28774B1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31" y="0"/>
            <a:ext cx="8138160" cy="719137"/>
          </a:xfrm>
        </p:spPr>
        <p:txBody>
          <a:bodyPr/>
          <a:lstStyle/>
          <a:p>
            <a:r>
              <a:rPr lang="en-US" dirty="0"/>
              <a:t>Proof of Concept - Resili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CDDB53-4C59-4358-D39F-C47966B3D1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2" name="Picture 11" descr="A computer screen shot of a diagram&#10;&#10;AI-generated content may be incorrect.">
            <a:extLst>
              <a:ext uri="{FF2B5EF4-FFF2-40B4-BE49-F238E27FC236}">
                <a16:creationId xmlns:a16="http://schemas.microsoft.com/office/drawing/2014/main" id="{02017A2A-16D0-2E70-4AF3-4D44FD361B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920" y="450582"/>
            <a:ext cx="8138160" cy="38504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732A1C-0156-9194-24ED-32EAB48CE9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919" y="4397609"/>
            <a:ext cx="7605664" cy="43442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1432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5EC83-946F-3912-37AB-34566C2EB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9D0BD-ABCF-19BB-5F8F-BED08F7F7E4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5CFE1C-7E0A-E21D-F7EC-9F44CFFC4D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7C7FFB-94B0-383D-BEE6-F1E2BEF89F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1200" b="1" dirty="0"/>
              <a:t>Goal:</a:t>
            </a:r>
            <a:r>
              <a:rPr lang="en-US" sz="1200" dirty="0"/>
              <a:t> Evaluate whether the system meets the 3 core requirements</a:t>
            </a:r>
          </a:p>
          <a:p>
            <a:endParaRPr lang="en-US" sz="1200" dirty="0"/>
          </a:p>
          <a:p>
            <a:r>
              <a:rPr lang="en-US" sz="1200" b="1" dirty="0"/>
              <a:t>Method:</a:t>
            </a:r>
            <a:r>
              <a:rPr lang="en-US" sz="1200" dirty="0"/>
              <a:t> Apply realistic change scenarios that:</a:t>
            </a:r>
          </a:p>
          <a:p>
            <a:pPr lvl="1"/>
            <a:r>
              <a:rPr lang="en-US" sz="1200" dirty="0"/>
              <a:t>Reconfigure workflows without code changes</a:t>
            </a:r>
          </a:p>
          <a:p>
            <a:pPr lvl="1"/>
            <a:r>
              <a:rPr lang="en-US" sz="1200" dirty="0"/>
              <a:t>Adapt to different external systems</a:t>
            </a:r>
          </a:p>
          <a:p>
            <a:pPr lvl="1"/>
            <a:r>
              <a:rPr lang="en-US" sz="1200" dirty="0"/>
              <a:t>Deploy in flexible ways (centralized/per-patient)</a:t>
            </a:r>
          </a:p>
          <a:p>
            <a:pPr lvl="1"/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74D112-1781-BC3C-8F84-DEC937C44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&amp;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79015F-17A8-34EA-704B-11BD272DFE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7A50B81-58ED-55EE-FB70-BC344E856B08}"/>
              </a:ext>
            </a:extLst>
          </p:cNvPr>
          <p:cNvSpPr txBox="1"/>
          <p:nvPr/>
        </p:nvSpPr>
        <p:spPr>
          <a:xfrm>
            <a:off x="4569142" y="1705261"/>
            <a:ext cx="4572000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Criteria:</a:t>
            </a:r>
            <a:endParaRPr lang="en-US" sz="1200" dirty="0"/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Code-free scenario execution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Fulfillment of system qualities based on their definition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Maintenance of architecture integrit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0327482-99FC-D5D3-57F9-96E5DE2E5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206002"/>
              </p:ext>
            </p:extLst>
          </p:nvPr>
        </p:nvGraphicFramePr>
        <p:xfrm>
          <a:off x="1118711" y="3030256"/>
          <a:ext cx="6763702" cy="1433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7075">
                  <a:extLst>
                    <a:ext uri="{9D8B030D-6E8A-4147-A177-3AD203B41FA5}">
                      <a16:colId xmlns:a16="http://schemas.microsoft.com/office/drawing/2014/main" val="3883795034"/>
                    </a:ext>
                  </a:extLst>
                </a:gridCol>
                <a:gridCol w="4286627">
                  <a:extLst>
                    <a:ext uri="{9D8B030D-6E8A-4147-A177-3AD203B41FA5}">
                      <a16:colId xmlns:a16="http://schemas.microsoft.com/office/drawing/2014/main" val="1512637404"/>
                    </a:ext>
                  </a:extLst>
                </a:gridCol>
              </a:tblGrid>
              <a:tr h="286625">
                <a:tc gridSpan="2"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dirty="0"/>
                        <a:t>Evaluation Results per requirement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860612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Requirement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How It Was Validated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240573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Workflow Configura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ll workflow edits (tasks, actors, transitions, etc.) executed via BPM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6888996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System Adaptability &amp; Integra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daptors enabled/disabled at runtime without code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0099813"/>
                  </a:ext>
                </a:extLst>
              </a:tr>
              <a:tr h="2866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1" dirty="0"/>
                        <a:t>Deployment Flexibilit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/>
                        <a:t>All components deployed in Docker; supports concurrent exec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1813185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75536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85CE9B-AA4E-FA4B-4874-A6E319072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ED22C-E18C-7AA0-B1F0-55AFAF76ADE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7E8C0C-80EB-47AE-645D-B0D4D9CEC8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DA14202-4B7E-D042-B6FD-9262E0A2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133984"/>
            <a:ext cx="8138160" cy="719137"/>
          </a:xfrm>
        </p:spPr>
        <p:txBody>
          <a:bodyPr/>
          <a:lstStyle/>
          <a:p>
            <a:r>
              <a:rPr lang="en-US" dirty="0"/>
              <a:t>Results per Qua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B5654-9A20-C6F6-4C8A-28CDE716F2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5721157-FBC1-6CC4-BEE4-71AECA2255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982435"/>
              </p:ext>
            </p:extLst>
          </p:nvPr>
        </p:nvGraphicFramePr>
        <p:xfrm>
          <a:off x="86685" y="732123"/>
          <a:ext cx="8970630" cy="3465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57">
                  <a:extLst>
                    <a:ext uri="{9D8B030D-6E8A-4147-A177-3AD203B41FA5}">
                      <a16:colId xmlns:a16="http://schemas.microsoft.com/office/drawing/2014/main" val="141269767"/>
                    </a:ext>
                  </a:extLst>
                </a:gridCol>
                <a:gridCol w="2065483">
                  <a:extLst>
                    <a:ext uri="{9D8B030D-6E8A-4147-A177-3AD203B41FA5}">
                      <a16:colId xmlns:a16="http://schemas.microsoft.com/office/drawing/2014/main" val="365373597"/>
                    </a:ext>
                  </a:extLst>
                </a:gridCol>
                <a:gridCol w="2210639">
                  <a:extLst>
                    <a:ext uri="{9D8B030D-6E8A-4147-A177-3AD203B41FA5}">
                      <a16:colId xmlns:a16="http://schemas.microsoft.com/office/drawing/2014/main" val="601478599"/>
                    </a:ext>
                  </a:extLst>
                </a:gridCol>
                <a:gridCol w="2143424">
                  <a:extLst>
                    <a:ext uri="{9D8B030D-6E8A-4147-A177-3AD203B41FA5}">
                      <a16:colId xmlns:a16="http://schemas.microsoft.com/office/drawing/2014/main" val="2970919239"/>
                    </a:ext>
                  </a:extLst>
                </a:gridCol>
                <a:gridCol w="1674027">
                  <a:extLst>
                    <a:ext uri="{9D8B030D-6E8A-4147-A177-3AD203B41FA5}">
                      <a16:colId xmlns:a16="http://schemas.microsoft.com/office/drawing/2014/main" val="3537451953"/>
                    </a:ext>
                  </a:extLst>
                </a:gridCol>
              </a:tblGrid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Qua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Change Scenarios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Problem Addressed</a:t>
                      </a:r>
                      <a:endParaRPr lang="en-US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aptured By</a:t>
                      </a:r>
                      <a:endParaRPr lang="en-US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Level of Success</a:t>
                      </a:r>
                      <a:endParaRPr lang="en-US" sz="7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77875386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Workflow Configur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workflow reconfiguration scenarios (task changes, conditions, transitions, role assignments, etc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nable variation in clinical workflow logic across hospitals without code-level cha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BPMN-based workflow reconfiguration using Camunda Modeler and </a:t>
                      </a:r>
                      <a:r>
                        <a:rPr lang="en-US" sz="700" b="1" dirty="0" err="1"/>
                        <a:t>Zeebe</a:t>
                      </a:r>
                      <a:r>
                        <a:rPr lang="en-US" sz="700" b="1" dirty="0"/>
                        <a:t> eng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0477858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Adaptability &amp; Flexi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External system variability, integrating new systems, multiple responses, deployment alterna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ccommodate IT heterogeneity and hospital-specific workflows/deployment nee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adaptor system, message broker decoupling, enable/disable adaptors without code-level cha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All scenarios succeeded except mixed deployment (needs practical implementatio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194235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Integr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Plug-in adaptors for protocol-specific communication, switching between system typ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Isolate external protocol logic and enable plug-and-play inte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Adaptors using message broker abstraction and standard message contra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8273142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Resilience &amp; Robustness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External system variability, failures/timeouts, retry/fallback 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nsure continued operation and graceful degradation under fail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BPMN fallback flows, timer events, post-conditions, persisted workflow 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scenarios successfully demonstra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026546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Scal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Increase in number of patients or concurrently running workflow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Future-proof system for large-scale deployment nee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components, Kubernetes-ready deployment, container-based architec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Not practically tested but theoretically suppo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0975141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Extensi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dding new UFs or system adap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Extend functionality for evolving clinical or IT requir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Modular architecture, message-based interface contra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theoretical scenarios demonstrated successfull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0454535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Maintainability &amp; Upgradabil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Component-level changes, bug fixes, protocol updates, UF/adaptor upgrad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Safe, localized upgrades and long-term maintai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lear separation of concerns, modular independent compon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 theoretical scenarios demonstrated successfull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2929231"/>
                  </a:ext>
                </a:extLst>
              </a:tr>
              <a:tr h="37756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/>
                        <a:t>Modularity</a:t>
                      </a:r>
                      <a:endParaRPr lang="en-US" sz="7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Isolated component evolution (e.g., UFs, adaptors, engin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/>
                        <a:t>Allow independent development and replacement of compon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b="1" dirty="0"/>
                        <a:t>Containerized components with publish/subscribe decoup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700" dirty="0"/>
                        <a:t>Satisfi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381556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7A50B81-58ED-55EE-FB70-BC344E856B08}"/>
              </a:ext>
            </a:extLst>
          </p:cNvPr>
          <p:cNvSpPr txBox="1"/>
          <p:nvPr/>
        </p:nvSpPr>
        <p:spPr>
          <a:xfrm>
            <a:off x="182123" y="4409217"/>
            <a:ext cx="7226067" cy="2308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/>
              <a:t>Architectural Integrity:</a:t>
            </a:r>
            <a:r>
              <a:rPr lang="en-US" sz="900" dirty="0"/>
              <a:t> Change scenarios does not require architectural changes to be satisfied!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8607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16513-4257-E552-3CE3-344A0873D2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068911-A0BE-3A78-D2CF-3372817C31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55395E-D9E2-9D2E-4631-43BFB61395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C15A2E5-52F2-63B5-31DA-0EB2EF6C6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ies &amp; Future Extens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7FA81A-AEAD-2EFB-A9D3-1C7DE2148E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88C87B3-09A1-5788-FCB9-633E886A4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096722"/>
              </p:ext>
            </p:extLst>
          </p:nvPr>
        </p:nvGraphicFramePr>
        <p:xfrm>
          <a:off x="182123" y="1051560"/>
          <a:ext cx="877824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389803966"/>
                    </a:ext>
                  </a:extLst>
                </a:gridCol>
                <a:gridCol w="1483360">
                  <a:extLst>
                    <a:ext uri="{9D8B030D-6E8A-4147-A177-3AD203B41FA5}">
                      <a16:colId xmlns:a16="http://schemas.microsoft.com/office/drawing/2014/main" val="3189962141"/>
                    </a:ext>
                  </a:extLst>
                </a:gridCol>
                <a:gridCol w="932180">
                  <a:extLst>
                    <a:ext uri="{9D8B030D-6E8A-4147-A177-3AD203B41FA5}">
                      <a16:colId xmlns:a16="http://schemas.microsoft.com/office/drawing/2014/main" val="28766526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195480677"/>
                    </a:ext>
                  </a:extLst>
                </a:gridCol>
                <a:gridCol w="896620">
                  <a:extLst>
                    <a:ext uri="{9D8B030D-6E8A-4147-A177-3AD203B41FA5}">
                      <a16:colId xmlns:a16="http://schemas.microsoft.com/office/drawing/2014/main" val="416506135"/>
                    </a:ext>
                  </a:extLst>
                </a:gridCol>
                <a:gridCol w="3698240">
                  <a:extLst>
                    <a:ext uri="{9D8B030D-6E8A-4147-A177-3AD203B41FA5}">
                      <a16:colId xmlns:a16="http://schemas.microsoft.com/office/drawing/2014/main" val="6947804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 dirty="0"/>
                        <a:t>Rank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Boundary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Impact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Source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/>
                        <a:t>Mitigation Effort</a:t>
                      </a: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50" b="1" dirty="0"/>
                        <a:t>Notes</a:t>
                      </a:r>
                      <a:endParaRPr lang="en-US" sz="105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73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global transactional consist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Desi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ffects workflow correctness when involving multiple UFs or external systems. It requires </a:t>
                      </a:r>
                      <a:r>
                        <a:rPr lang="en-US" sz="1050" b="1" dirty="0"/>
                        <a:t>compensating logic in workflows</a:t>
                      </a:r>
                      <a:r>
                        <a:rPr lang="en-US" sz="1050" dirty="0"/>
                        <a:t>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6824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distributed tracing sup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ffects observability and debugging in workflow execution. This can be addressed using </a:t>
                      </a:r>
                      <a:r>
                        <a:rPr lang="en-US" sz="1050" dirty="0" err="1"/>
                        <a:t>OpenTelemetry</a:t>
                      </a:r>
                      <a:r>
                        <a:rPr lang="en-US" sz="1050" dirty="0"/>
                        <a:t> and Grafana Tempo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5054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Single point of failure: message bro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Causes disruption if the broker fails, however can be resolved with high-availability setup in Kubernet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6824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No hard real-time guarante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–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Me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Relevant only if strict timing constraints are introduced. Bounded behavior can be achieved with rate limiting and resource managem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0867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Assumption of prebuilt adaptors/U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Desi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Common in integration-heavy systems. </a:t>
                      </a:r>
                      <a:r>
                        <a:rPr lang="en-US" sz="1050" b="1" dirty="0"/>
                        <a:t>New adaptors are added as needed per external system type without affecting any other system compon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73374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Per-hospital vs. shared deploy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Imple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/>
                        <a:t>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50" dirty="0"/>
                        <a:t>Architecture supports both. Shared deployments require standard tenant isolation mechanisms for data protec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9469967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010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9D50E-B3E3-BFAC-3D72-A049A610E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0C74BD-2F4E-D538-0998-B2BBE993E9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B2ECB6-DFE7-30A7-9740-B78C90B3781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3FD56E-0113-CCD7-A8EE-A7A3BA37C8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19" y="1219034"/>
            <a:ext cx="8138160" cy="3801022"/>
          </a:xfrm>
        </p:spPr>
        <p:txBody>
          <a:bodyPr/>
          <a:lstStyle/>
          <a:p>
            <a:r>
              <a:rPr lang="en-US" sz="1100" b="1" dirty="0"/>
              <a:t>RQ1: What are the key characteristics and evolving requirements of clinical workflows &amp; CWS that should be supported by the proposed system design?</a:t>
            </a:r>
          </a:p>
          <a:p>
            <a:pPr marL="0" indent="0">
              <a:buNone/>
            </a:pPr>
            <a:endParaRPr lang="en-US" sz="1100" b="1" dirty="0"/>
          </a:p>
          <a:p>
            <a:r>
              <a:rPr lang="en-US" sz="1100" dirty="0"/>
              <a:t>Identified </a:t>
            </a:r>
            <a:r>
              <a:rPr lang="en-US" sz="1100" b="1" dirty="0"/>
              <a:t>three core system requirements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Workflow Configurability</a:t>
            </a:r>
          </a:p>
          <a:p>
            <a:pPr lvl="1"/>
            <a:r>
              <a:rPr lang="en-US" sz="1100" dirty="0"/>
              <a:t>System Adaptability, Flexibility &amp; Integrability</a:t>
            </a:r>
          </a:p>
          <a:p>
            <a:pPr lvl="1"/>
            <a:r>
              <a:rPr lang="en-US" sz="1100" dirty="0"/>
              <a:t>Deployment Flexibility &amp; Adaptability</a:t>
            </a:r>
          </a:p>
          <a:p>
            <a:r>
              <a:rPr lang="en-US" sz="1100" dirty="0"/>
              <a:t>Grounded in literature, expert input, and PESTEL analysis</a:t>
            </a:r>
          </a:p>
          <a:p>
            <a:r>
              <a:rPr lang="en-US" sz="1100" dirty="0"/>
              <a:t>Linked to </a:t>
            </a:r>
            <a:r>
              <a:rPr lang="en-US" sz="1100" b="1" dirty="0"/>
              <a:t>11</a:t>
            </a:r>
            <a:r>
              <a:rPr lang="en-US" sz="1100" dirty="0"/>
              <a:t> </a:t>
            </a:r>
            <a:r>
              <a:rPr lang="en-US" sz="1100" b="1" dirty="0"/>
              <a:t>system qualities</a:t>
            </a:r>
            <a:r>
              <a:rPr lang="en-US" sz="1100" dirty="0"/>
              <a:t> guiding architecture, for each one a contextualized definition for CWS has given</a:t>
            </a:r>
          </a:p>
          <a:p>
            <a:r>
              <a:rPr lang="en-US" sz="1100" dirty="0"/>
              <a:t>Key driver qualities: Configurability, Adaptability, Flexibility and Integrability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3D9A6-CC5F-B277-5092-C249007CB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(1)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CE065D-091E-554C-ACB7-784AC17DCA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1179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47E053-BF69-8ADB-65FB-8819F2255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D53AE-9B6F-2443-0C8F-F8B7DB7A77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A0A2EE-0748-13F4-4A90-E1AE6F61ED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D913A9-87DD-271D-2CDA-8703022AC4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885194"/>
            <a:ext cx="8138160" cy="3801022"/>
          </a:xfrm>
        </p:spPr>
        <p:txBody>
          <a:bodyPr/>
          <a:lstStyle/>
          <a:p>
            <a:r>
              <a:rPr lang="en-US" sz="1100" b="1" dirty="0"/>
              <a:t>RQ2: How can the CWS architecture be designed to support workflow configurability and system adaptability without requiring code-level modification and satisfy the identified current and future system requirements?</a:t>
            </a:r>
          </a:p>
          <a:p>
            <a:endParaRPr lang="en-US" sz="1100" dirty="0"/>
          </a:p>
          <a:p>
            <a:r>
              <a:rPr lang="en-US" sz="1100" dirty="0"/>
              <a:t>Architecture main components includes </a:t>
            </a:r>
            <a:r>
              <a:rPr lang="en-US" sz="1100" b="1" dirty="0"/>
              <a:t>Workflow Editor &amp; Engine, UFs, Adaptors, Message Broker</a:t>
            </a:r>
            <a:endParaRPr lang="en-US" sz="1100" dirty="0"/>
          </a:p>
          <a:p>
            <a:r>
              <a:rPr lang="en-US" sz="1100" b="1" dirty="0"/>
              <a:t>Main Concepts:</a:t>
            </a:r>
          </a:p>
          <a:p>
            <a:pPr lvl="1"/>
            <a:r>
              <a:rPr lang="en-US" sz="1100" dirty="0"/>
              <a:t>Workflow definition expressed in configuration file</a:t>
            </a:r>
          </a:p>
          <a:p>
            <a:pPr lvl="1"/>
            <a:r>
              <a:rPr lang="en-US" sz="1100" dirty="0"/>
              <a:t>Workflow control logic separated from functional logic (UFs) </a:t>
            </a:r>
          </a:p>
          <a:p>
            <a:pPr lvl="1"/>
            <a:r>
              <a:rPr lang="en-US" sz="1100" dirty="0"/>
              <a:t>Adaptors for enabling system environmental adaptability, flexibility</a:t>
            </a:r>
          </a:p>
          <a:p>
            <a:pPr lvl="1"/>
            <a:r>
              <a:rPr lang="en-US" sz="1100" dirty="0"/>
              <a:t>UFs- Adaptors decoupling via Publish/Subscribe communication style</a:t>
            </a:r>
          </a:p>
          <a:p>
            <a:pPr lvl="1"/>
            <a:r>
              <a:rPr lang="en-US" sz="1100" dirty="0"/>
              <a:t>Modular architecture with clear separation of concerns for preserving architectural integrity</a:t>
            </a:r>
          </a:p>
          <a:p>
            <a:pPr lvl="1"/>
            <a:endParaRPr lang="en-US" sz="1100" dirty="0"/>
          </a:p>
          <a:p>
            <a:r>
              <a:rPr lang="en-US" sz="1100" b="1" dirty="0"/>
              <a:t>Trade-offs</a:t>
            </a:r>
            <a:r>
              <a:rPr lang="en-US" sz="1100" dirty="0"/>
              <a:t> acknowledged: </a:t>
            </a:r>
          </a:p>
          <a:p>
            <a:pPr lvl="1"/>
            <a:r>
              <a:rPr lang="en-US" sz="1100" dirty="0"/>
              <a:t>Centralized orchestration </a:t>
            </a:r>
            <a:r>
              <a:rPr lang="en-US" sz="1100" b="1" dirty="0"/>
              <a:t>vs. </a:t>
            </a:r>
            <a:r>
              <a:rPr lang="en-US" sz="1100" dirty="0"/>
              <a:t>single point of failure</a:t>
            </a:r>
          </a:p>
          <a:p>
            <a:pPr lvl="1"/>
            <a:r>
              <a:rPr lang="en-US" sz="1100" dirty="0"/>
              <a:t>High Modularity </a:t>
            </a:r>
            <a:r>
              <a:rPr lang="en-US" sz="1100" b="1" dirty="0"/>
              <a:t>vs. </a:t>
            </a:r>
            <a:r>
              <a:rPr lang="en-US" sz="1100" dirty="0"/>
              <a:t>higher initial design and implementation &amp; deployment overhead - Multi-layer tracing/debugging complexity</a:t>
            </a:r>
          </a:p>
          <a:p>
            <a:pPr lvl="1"/>
            <a:r>
              <a:rPr lang="en-US" sz="1100" dirty="0"/>
              <a:t>Patient to system mapping in adaptors/ Clear separation of concerns </a:t>
            </a:r>
            <a:r>
              <a:rPr lang="en-US" sz="1100" b="1" dirty="0"/>
              <a:t>vs. </a:t>
            </a:r>
            <a:r>
              <a:rPr lang="en-US" sz="1100" dirty="0"/>
              <a:t>Increased message filtering load in adaptors</a:t>
            </a:r>
          </a:p>
          <a:p>
            <a:endParaRPr lang="en-US" sz="1100" dirty="0"/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EBC5256-B4CD-49CD-8246-C6ACC5080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(2)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016EB5-897C-F677-6051-3A0A17C1B1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792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9743D-0C05-766B-AC0F-13BD2E370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44B87C-6073-CC10-4E41-E670AFC96F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96BCB-20ED-2584-1106-6F6B787B15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9150ED-70CF-4A87-E05B-E9825A7FC04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797659"/>
            <a:ext cx="8138160" cy="3943877"/>
          </a:xfrm>
        </p:spPr>
        <p:txBody>
          <a:bodyPr/>
          <a:lstStyle/>
          <a:p>
            <a:r>
              <a:rPr lang="en-US" sz="1100" b="1" dirty="0"/>
              <a:t>RQ3: What are appropriate criteria/metrics/questions for assessing evolvability of CWS?</a:t>
            </a:r>
          </a:p>
          <a:p>
            <a:endParaRPr lang="en-US" sz="1100" b="1" dirty="0"/>
          </a:p>
          <a:p>
            <a:r>
              <a:rPr lang="en-US" sz="1100" b="1" dirty="0"/>
              <a:t>Three evaluation criteria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Generated change scenarios require no code-level changes</a:t>
            </a:r>
          </a:p>
          <a:p>
            <a:pPr lvl="1"/>
            <a:r>
              <a:rPr lang="en-US" sz="1100" dirty="0"/>
              <a:t>Qualities are realized and observable in architecture</a:t>
            </a:r>
          </a:p>
          <a:p>
            <a:pPr lvl="1"/>
            <a:r>
              <a:rPr lang="en-US" sz="1100" dirty="0"/>
              <a:t>Architectural integrity is preserved</a:t>
            </a:r>
          </a:p>
          <a:p>
            <a:pPr lvl="1"/>
            <a:endParaRPr lang="en-US" sz="1100" dirty="0"/>
          </a:p>
          <a:p>
            <a:r>
              <a:rPr lang="en-US" sz="1100" b="1" dirty="0"/>
              <a:t>Method</a:t>
            </a:r>
            <a:r>
              <a:rPr lang="en-US" sz="1100" dirty="0"/>
              <a:t>:</a:t>
            </a:r>
          </a:p>
          <a:p>
            <a:pPr lvl="1"/>
            <a:r>
              <a:rPr lang="en-US" sz="1100" dirty="0"/>
              <a:t>Applied change scenarios to evaluate system ability to support requirements</a:t>
            </a:r>
          </a:p>
          <a:p>
            <a:pPr lvl="1"/>
            <a:r>
              <a:rPr lang="en-US" sz="1100" dirty="0"/>
              <a:t>Mapped each quality to the problem addressed, the architectural concept used, the evaluation outcome</a:t>
            </a:r>
          </a:p>
          <a:p>
            <a:pPr lvl="1"/>
            <a:endParaRPr lang="en-US" sz="1100" dirty="0"/>
          </a:p>
          <a:p>
            <a:r>
              <a:rPr lang="en-US" sz="1100" dirty="0"/>
              <a:t>Identified system boundaries &amp; limitations: </a:t>
            </a:r>
            <a:r>
              <a:rPr lang="en-US" sz="1100" b="1" dirty="0"/>
              <a:t>no blocking limitations originate in the design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9662B0-0E7A-A070-3A13-DD802C80F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swer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0268E2-9D67-A076-D60D-136CEF691D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850582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9153CD-0DF8-B390-A80B-A4B5F9C3A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4ACCAE-F9B6-9F54-5B8A-076D402C7DE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F51B6D-B2B2-D0FC-CC4B-D7199F9213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174C00-72A0-354F-602B-2194A9AA77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94392"/>
            <a:ext cx="8138160" cy="3484800"/>
          </a:xfrm>
        </p:spPr>
        <p:txBody>
          <a:bodyPr/>
          <a:lstStyle/>
          <a:p>
            <a:r>
              <a:rPr lang="en-US" sz="1200" b="1" dirty="0"/>
              <a:t>Clinical Workflows</a:t>
            </a:r>
          </a:p>
          <a:p>
            <a:pPr lvl="1"/>
            <a:r>
              <a:rPr lang="en-US" sz="1200" dirty="0"/>
              <a:t>Structured sequence of tasks that coordinate care across clinicians and systems.(e.g., patient admission, sepsis diagnosis).</a:t>
            </a:r>
          </a:p>
          <a:p>
            <a:pPr lvl="1"/>
            <a:r>
              <a:rPr lang="en-US" sz="1200" dirty="0"/>
              <a:t>Each hospital implements their workflows based on published clinical guidelines (e.g., from WHO, BC Sepsis Network).</a:t>
            </a:r>
          </a:p>
          <a:p>
            <a:pPr lvl="1"/>
            <a:r>
              <a:rPr lang="en-US" sz="1200" dirty="0"/>
              <a:t>Workflows implementation vary across hospitals due to local policies, infrastructure etc.</a:t>
            </a:r>
          </a:p>
          <a:p>
            <a:pPr marL="147600" lvl="1" indent="0">
              <a:buNone/>
            </a:pPr>
            <a:endParaRPr lang="en-US" sz="1200" dirty="0"/>
          </a:p>
          <a:p>
            <a:r>
              <a:rPr lang="en-US" sz="1200" b="1" dirty="0"/>
              <a:t>Clinical Workflow System (CWS)</a:t>
            </a:r>
          </a:p>
          <a:p>
            <a:pPr lvl="1"/>
            <a:r>
              <a:rPr lang="en-US" sz="1200" dirty="0"/>
              <a:t>Responsible for implementing, executing, managing clinical workflows</a:t>
            </a:r>
          </a:p>
          <a:p>
            <a:pPr lvl="1"/>
            <a:r>
              <a:rPr lang="en-US" sz="1200" dirty="0"/>
              <a:t>CWS stand as subsystems in medical products (e.g. patient monitor)</a:t>
            </a:r>
          </a:p>
          <a:p>
            <a:pPr lvl="1"/>
            <a:r>
              <a:rPr lang="en-US" sz="1200" dirty="0"/>
              <a:t>Interact with hospital environment (staff &amp; systems) for completing workflows execution</a:t>
            </a:r>
          </a:p>
          <a:p>
            <a:pPr lvl="1"/>
            <a:r>
              <a:rPr lang="en-US" sz="1200" dirty="0"/>
              <a:t>Key Stakeholders: Clinicians, Caregivers admins, Vendors’ Engineer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5850EE0-0595-3B32-C973-4FE8F6E7C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2A8B7E-A9A1-6A6F-C48C-4DA1A7640A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 descr="A diagram of a patient's medical procedure&#10;&#10;AI-generated content may be incorrect.">
            <a:extLst>
              <a:ext uri="{FF2B5EF4-FFF2-40B4-BE49-F238E27FC236}">
                <a16:creationId xmlns:a16="http://schemas.microsoft.com/office/drawing/2014/main" id="{407E018F-F8CA-9D5C-5F22-0F3B19C6AE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7375" y="1728482"/>
            <a:ext cx="3926237" cy="3291574"/>
          </a:xfrm>
          <a:prstGeom prst="rect">
            <a:avLst/>
          </a:prstGeom>
          <a:effectLst>
            <a:glow rad="1905000">
              <a:schemeClr val="accent1">
                <a:alpha val="50000"/>
              </a:schemeClr>
            </a:glow>
            <a:reflection stA="0" endPos="61000" dist="508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21A261-6196-E6AF-820B-76EA15D72D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9893" y="2002372"/>
            <a:ext cx="539426" cy="20803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1366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09A68-7191-C4B8-A91F-330B4B4530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53773-5319-2238-BF64-229DC0BEC53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40569C-BEE7-2B81-0A81-45919374B2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438548-01A8-C9D1-ACE4-C6B50921BA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921677"/>
            <a:ext cx="8138160" cy="3552092"/>
          </a:xfrm>
        </p:spPr>
        <p:txBody>
          <a:bodyPr/>
          <a:lstStyle/>
          <a:p>
            <a:pPr lvl="1"/>
            <a:r>
              <a:rPr lang="en-US" sz="1100" dirty="0"/>
              <a:t>A </a:t>
            </a:r>
            <a:r>
              <a:rPr lang="en-US" sz="1100" b="1" dirty="0"/>
              <a:t>generalizable</a:t>
            </a:r>
            <a:r>
              <a:rPr lang="en-US" sz="1100" dirty="0"/>
              <a:t> system architecture for evolvable CWS (</a:t>
            </a:r>
            <a:r>
              <a:rPr lang="en-US" sz="1100" b="1" dirty="0"/>
              <a:t>The architecture is generalizable beyond clinical settings</a:t>
            </a:r>
            <a:r>
              <a:rPr lang="en-US" sz="1100" dirty="0"/>
              <a:t>)</a:t>
            </a:r>
          </a:p>
          <a:p>
            <a:pPr lvl="1"/>
            <a:endParaRPr lang="en-US" sz="1100" dirty="0"/>
          </a:p>
          <a:p>
            <a:pPr lvl="1"/>
            <a:r>
              <a:rPr lang="en-US" sz="1100" b="1" dirty="0"/>
              <a:t>Comparison with existing work reveals two key innovations</a:t>
            </a:r>
          </a:p>
          <a:p>
            <a:pPr lvl="2"/>
            <a:r>
              <a:rPr lang="en-US" sz="1100" dirty="0"/>
              <a:t>Clear </a:t>
            </a:r>
            <a:r>
              <a:rPr lang="en-US" sz="1100" b="1" dirty="0"/>
              <a:t>separation of workflow logic from functional logic</a:t>
            </a:r>
            <a:r>
              <a:rPr lang="en-US" sz="1100" dirty="0"/>
              <a:t> through UFs – not addressed in earlier systems. Improves workflow maintainability and reconfiguration efficiency as reduces testing and complexity.</a:t>
            </a:r>
          </a:p>
          <a:p>
            <a:pPr lvl="2"/>
            <a:r>
              <a:rPr lang="en-US" sz="1100" dirty="0"/>
              <a:t>Explicit support for </a:t>
            </a:r>
            <a:r>
              <a:rPr lang="en-US" sz="1100" b="1" dirty="0"/>
              <a:t>external system heterogeneity</a:t>
            </a:r>
            <a:r>
              <a:rPr lang="en-US" sz="1100" dirty="0"/>
              <a:t> through adaptors – overcoming the assumption of standardized environments common in prior studies.</a:t>
            </a:r>
          </a:p>
          <a:p>
            <a:pPr lvl="2"/>
            <a:endParaRPr lang="en-US" sz="1100" dirty="0"/>
          </a:p>
          <a:p>
            <a:pPr lvl="1"/>
            <a:r>
              <a:rPr lang="en-US" sz="1100" b="1" dirty="0"/>
              <a:t>Single CWS release</a:t>
            </a:r>
            <a:r>
              <a:rPr lang="en-US" sz="1100" dirty="0"/>
              <a:t>, customization through configuration (workflow, active adaptors, deployment)</a:t>
            </a:r>
          </a:p>
          <a:p>
            <a:pPr lvl="1"/>
            <a:r>
              <a:rPr lang="en-US" sz="1100" b="1" dirty="0"/>
              <a:t>Demonstrated capability</a:t>
            </a:r>
            <a:r>
              <a:rPr lang="en-US" sz="1100" dirty="0"/>
              <a:t> to evolve without code-level changes/</a:t>
            </a:r>
            <a:r>
              <a:rPr lang="en-US" sz="1100" b="1" dirty="0"/>
              <a:t>practical implementation </a:t>
            </a:r>
            <a:r>
              <a:rPr lang="en-US" sz="1100" dirty="0"/>
              <a:t>and validation via change scenarios</a:t>
            </a:r>
          </a:p>
          <a:p>
            <a:pPr lvl="1"/>
            <a:r>
              <a:rPr lang="en-US" sz="1100" b="1" dirty="0"/>
              <a:t>Methodology</a:t>
            </a:r>
            <a:r>
              <a:rPr lang="en-US" sz="1100" dirty="0"/>
              <a:t> on how design an evolvable CWS</a:t>
            </a:r>
          </a:p>
          <a:p>
            <a:pPr marL="147600" lvl="1" indent="0">
              <a:buNone/>
            </a:pPr>
            <a:endParaRPr lang="en-US" sz="1100" dirty="0"/>
          </a:p>
          <a:p>
            <a:pPr lvl="1"/>
            <a:endParaRPr lang="en-US" sz="1100" dirty="0"/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Adding </a:t>
            </a:r>
            <a:r>
              <a:rPr lang="en-US" sz="1100" b="1" dirty="0"/>
              <a:t>semantic validation</a:t>
            </a:r>
            <a:r>
              <a:rPr lang="en-US" sz="1100" dirty="0"/>
              <a:t> of workflows.</a:t>
            </a:r>
          </a:p>
          <a:p>
            <a:pPr lvl="1"/>
            <a:r>
              <a:rPr lang="en-US" sz="1100" b="1" dirty="0"/>
              <a:t>Further analysis of mixed deployments</a:t>
            </a:r>
            <a:r>
              <a:rPr lang="en-US" sz="1100" dirty="0"/>
              <a:t> and multi-CWS collaboration.</a:t>
            </a:r>
          </a:p>
          <a:p>
            <a:pPr lvl="1"/>
            <a:endParaRPr lang="en-US" sz="1100" dirty="0"/>
          </a:p>
          <a:p>
            <a:pPr marL="295200" lvl="2" indent="0">
              <a:buNone/>
            </a:pPr>
            <a:endParaRPr lang="en-US" sz="11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3D43C1-677C-602E-CE81-CC69FBCD0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in Contribut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DA7904-182E-5D58-32B8-EF2FC8150A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97FD2BBA-40AB-C83C-DCFE-65175FE94456}"/>
              </a:ext>
            </a:extLst>
          </p:cNvPr>
          <p:cNvSpPr txBox="1">
            <a:spLocks/>
          </p:cNvSpPr>
          <p:nvPr/>
        </p:nvSpPr>
        <p:spPr>
          <a:xfrm>
            <a:off x="494800" y="3654018"/>
            <a:ext cx="813816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uture Work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670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44423-32C9-FFF0-89F0-B22E3C829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1067C5-584E-45D5-BFF7-0DF8FD59B3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5B538A-F068-32E2-4D60-A454568690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B1ECA5-A509-57B5-F6EE-B14D5EA239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5E300616-F0A8-57A3-EB55-A58A68141313}"/>
              </a:ext>
            </a:extLst>
          </p:cNvPr>
          <p:cNvSpPr txBox="1">
            <a:spLocks/>
          </p:cNvSpPr>
          <p:nvPr/>
        </p:nvSpPr>
        <p:spPr>
          <a:xfrm>
            <a:off x="1920239" y="1957946"/>
            <a:ext cx="813816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/>
              <a:t>Thank you for your attention </a:t>
            </a:r>
            <a:r>
              <a:rPr lang="en-US" sz="3600" b="1" dirty="0">
                <a:sym typeface="Wingdings" panose="05000000000000000000" pitchFamily="2" charset="2"/>
              </a:rPr>
              <a:t></a:t>
            </a:r>
            <a:endParaRPr lang="en-US" sz="3600" b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86464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446141-3E44-52C6-9102-57482EE8AE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83084E-61A1-711C-879C-CCACFA0D86B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6F8C6F-7225-64AB-9CEB-12A1E0BA9A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233C829-E4BC-7D0F-3F67-CA005C9EB1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5547" y="927178"/>
            <a:ext cx="8138160" cy="3759038"/>
          </a:xfrm>
        </p:spPr>
        <p:txBody>
          <a:bodyPr/>
          <a:lstStyle/>
          <a:p>
            <a:r>
              <a:rPr lang="en-US" sz="1000" b="1" dirty="0"/>
              <a:t>Core Supported Data Types in the CWS:</a:t>
            </a:r>
            <a:endParaRPr lang="en-US" sz="1000" dirty="0"/>
          </a:p>
          <a:p>
            <a:pPr lvl="1"/>
            <a:r>
              <a:rPr lang="en-US" sz="1000" b="1" dirty="0"/>
              <a:t>Workflow Definition Data</a:t>
            </a:r>
            <a:r>
              <a:rPr lang="en-US" sz="1000" dirty="0"/>
              <a:t> : e.g., YAML/JSON files</a:t>
            </a:r>
          </a:p>
          <a:p>
            <a:pPr lvl="1"/>
            <a:r>
              <a:rPr lang="en-US" sz="1000" b="1" dirty="0"/>
              <a:t>Patient-Specific Data:</a:t>
            </a:r>
            <a:r>
              <a:rPr lang="en-US" sz="1000" dirty="0"/>
              <a:t> Patient ID &amp; contextual input like age, heart rate, chronic illness, surgery history.</a:t>
            </a:r>
          </a:p>
          <a:p>
            <a:pPr lvl="1"/>
            <a:r>
              <a:rPr lang="en-US" sz="1000" b="1" dirty="0"/>
              <a:t>Workflow Instance Data:</a:t>
            </a:r>
            <a:r>
              <a:rPr lang="en-US" sz="1000" dirty="0"/>
              <a:t> Runtime metadata such as process IDs, job IDs, timestamps, execution state</a:t>
            </a:r>
          </a:p>
          <a:p>
            <a:pPr lvl="1"/>
            <a:r>
              <a:rPr lang="en-US" sz="1000" b="1" dirty="0"/>
              <a:t>Requests between UFs and adaptors are captured in the topics of the messages.</a:t>
            </a:r>
          </a:p>
          <a:p>
            <a:pPr marL="147600" lvl="1" indent="0">
              <a:buNone/>
            </a:pPr>
            <a:endParaRPr lang="en-US" sz="1000" dirty="0"/>
          </a:p>
          <a:p>
            <a:r>
              <a:rPr lang="en-US" sz="1000" b="1" dirty="0"/>
              <a:t>Architectural concepts used</a:t>
            </a:r>
            <a:r>
              <a:rPr lang="en-US" sz="1000" dirty="0"/>
              <a:t>:</a:t>
            </a:r>
          </a:p>
          <a:p>
            <a:pPr lvl="1"/>
            <a:r>
              <a:rPr lang="en-US" sz="1000" b="1" dirty="0"/>
              <a:t>Workflow Configurability</a:t>
            </a:r>
            <a:r>
              <a:rPr lang="en-US" sz="1000" dirty="0"/>
              <a:t>: Configuration files + Execution Engine</a:t>
            </a:r>
          </a:p>
          <a:p>
            <a:pPr lvl="1"/>
            <a:r>
              <a:rPr lang="en-US" sz="1000" b="1" dirty="0"/>
              <a:t>Control–Functional Logic Decoupling for increased maintainability less testing</a:t>
            </a:r>
            <a:r>
              <a:rPr lang="en-US" sz="1000" dirty="0"/>
              <a:t>: Unit Functions (UFs) encapsulate functionality separately from workflow logic</a:t>
            </a:r>
          </a:p>
          <a:p>
            <a:pPr lvl="1"/>
            <a:r>
              <a:rPr lang="en-US" sz="1000" b="1" dirty="0"/>
              <a:t>Decoupling from External Systems Adaptors handle external system variability</a:t>
            </a:r>
            <a:r>
              <a:rPr lang="en-US" sz="1000" dirty="0"/>
              <a:t>: Message Broker enables loose coupling and asynchronous communication</a:t>
            </a:r>
          </a:p>
          <a:p>
            <a:pPr lvl="1"/>
            <a:r>
              <a:rPr lang="en-US" sz="1000" b="1" dirty="0"/>
              <a:t>Modular Architecture:</a:t>
            </a:r>
            <a:r>
              <a:rPr lang="en-US" sz="1000" dirty="0"/>
              <a:t> Independently deployable components (UFs, Adaptors, Engine)</a:t>
            </a:r>
          </a:p>
          <a:p>
            <a:pPr lvl="1"/>
            <a:r>
              <a:rPr lang="en-US" sz="1000" b="1" dirty="0"/>
              <a:t>Configuration over Code:</a:t>
            </a:r>
            <a:r>
              <a:rPr lang="en-US" sz="1000" dirty="0"/>
              <a:t> Evolution and customization achieved via config changes, not code changes </a:t>
            </a:r>
          </a:p>
          <a:p>
            <a:pPr marL="147600" lvl="1" indent="0">
              <a:buNone/>
            </a:pPr>
            <a:endParaRPr lang="en-US" sz="1000" dirty="0"/>
          </a:p>
          <a:p>
            <a:r>
              <a:rPr lang="en-US" sz="1000" b="1" dirty="0"/>
              <a:t>What still needs code level changes?</a:t>
            </a:r>
          </a:p>
          <a:p>
            <a:pPr lvl="1"/>
            <a:r>
              <a:rPr lang="en-US" sz="1000" dirty="0"/>
              <a:t>Maintenance/upgrade of independent component- still optimized because of modularity</a:t>
            </a:r>
          </a:p>
          <a:p>
            <a:pPr lvl="1"/>
            <a:r>
              <a:rPr lang="en-US" sz="1000" dirty="0"/>
              <a:t>When a new UFs or Adaptors need to be added into the system</a:t>
            </a:r>
          </a:p>
          <a:p>
            <a:pPr lvl="1"/>
            <a:endParaRPr lang="en-US" sz="1000" b="1" dirty="0"/>
          </a:p>
          <a:p>
            <a:pPr lvl="1"/>
            <a:endParaRPr lang="en-US" sz="10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0911D6-6D8E-5DA9-23D8-E39865E2D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Discuss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4A5D10-A6B2-A99C-6F48-A0E095F063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0375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E02A8-A018-FD4E-3B86-E3ACA172A7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DC8D2E-A965-54E4-71A8-B100FDB7E88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1B4C0E-BD65-1FAF-E9E4-4EA0AC049B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232E9BA-77E8-17E5-134D-EE8C2BA80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– Automated task execu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D0C1C0-D9DF-5A7D-6385-927BE20132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EA61C94-9101-638A-9E8C-2AAD7915A5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123" y="1303885"/>
            <a:ext cx="8884931" cy="278805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9AC6BF-9543-B6AA-46AD-2D14BAF3D8B9}"/>
              </a:ext>
            </a:extLst>
          </p:cNvPr>
          <p:cNvSpPr txBox="1"/>
          <p:nvPr/>
        </p:nvSpPr>
        <p:spPr>
          <a:xfrm>
            <a:off x="3705306" y="2963138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Automated Task Execution</a:t>
            </a:r>
          </a:p>
        </p:txBody>
      </p:sp>
      <p:pic>
        <p:nvPicPr>
          <p:cNvPr id="13" name="Picture 12" descr="A diagram with text and words&#10;&#10;AI-generated content may be incorrect.">
            <a:extLst>
              <a:ext uri="{FF2B5EF4-FFF2-40B4-BE49-F238E27FC236}">
                <a16:creationId xmlns:a16="http://schemas.microsoft.com/office/drawing/2014/main" id="{30C0BE00-3711-C1DA-0FAA-2DF6E7F22E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4902" y="1051560"/>
            <a:ext cx="5238659" cy="192796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770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913043-BB50-56F6-4804-1C31066AE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FA46B8-F825-6FA8-77CE-43C56F008E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0A2489-86CA-E3FF-76FF-78AE31773AD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C2A2952-C619-F19F-8A00-99C9C6CDD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System Behavior – Full Examp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96C26A-0796-D599-B145-346C16385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97E8D7-6E3A-84A4-4AFC-1EA1D3B3FDB8}"/>
              </a:ext>
            </a:extLst>
          </p:cNvPr>
          <p:cNvSpPr txBox="1"/>
          <p:nvPr/>
        </p:nvSpPr>
        <p:spPr>
          <a:xfrm>
            <a:off x="3543074" y="4508946"/>
            <a:ext cx="407011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50" dirty="0"/>
              <a:t>Figure2: Automated Task Execution</a:t>
            </a:r>
          </a:p>
        </p:txBody>
      </p:sp>
      <p:pic>
        <p:nvPicPr>
          <p:cNvPr id="5" name="Picture 4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D2A414F7-BCBC-7881-C7BE-2FAC2AFA223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-1" b="42304"/>
          <a:stretch>
            <a:fillRect/>
          </a:stretch>
        </p:blipFill>
        <p:spPr>
          <a:xfrm>
            <a:off x="0" y="922020"/>
            <a:ext cx="9067054" cy="3169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25C8BF3-B9F3-6BC3-8D8A-2DABFE9DD5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123" y="1303885"/>
            <a:ext cx="8884931" cy="2788055"/>
          </a:xfrm>
          <a:prstGeom prst="rect">
            <a:avLst/>
          </a:prstGeom>
        </p:spPr>
      </p:pic>
      <p:pic>
        <p:nvPicPr>
          <p:cNvPr id="12" name="Picture 11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8F1BF382-794A-90EF-DD92-586C469597D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4034" r="5467"/>
          <a:stretch>
            <a:fillRect/>
          </a:stretch>
        </p:blipFill>
        <p:spPr>
          <a:xfrm>
            <a:off x="8366" y="1303885"/>
            <a:ext cx="8556514" cy="24964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2578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727D1-A45E-F410-1822-2DDE38ED3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1298E-31F4-2B95-B22D-078F6068B1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DA7414-D0DB-2BE7-3A4D-1BF1550C51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D2E4E4-F7FA-DA8B-D54A-41E1792B7D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4053" y="1201416"/>
            <a:ext cx="8138160" cy="3484800"/>
          </a:xfrm>
        </p:spPr>
        <p:txBody>
          <a:bodyPr/>
          <a:lstStyle/>
          <a:p>
            <a:r>
              <a:rPr lang="en-US" b="1" dirty="0"/>
              <a:t>Data-Oriented (Dataflow) Design</a:t>
            </a:r>
            <a:br>
              <a:rPr lang="en-US" dirty="0"/>
            </a:br>
            <a:r>
              <a:rPr lang="en-US" dirty="0"/>
              <a:t>	- Execution driven by data availability</a:t>
            </a:r>
            <a:br>
              <a:rPr lang="en-US" dirty="0"/>
            </a:br>
            <a:r>
              <a:rPr lang="en-US" dirty="0"/>
              <a:t> - Lacks control flow &amp; decision logic → not suitable for clinical workflows</a:t>
            </a:r>
          </a:p>
          <a:p>
            <a:r>
              <a:rPr lang="en-US" b="1" dirty="0"/>
              <a:t>Decentralized </a:t>
            </a:r>
            <a:r>
              <a:rPr lang="en-US" b="1" dirty="0" err="1"/>
              <a:t>Orchistration</a:t>
            </a:r>
            <a:r>
              <a:rPr lang="en-US" b="1" dirty="0"/>
              <a:t> (No Central Engine)</a:t>
            </a:r>
            <a:br>
              <a:rPr lang="en-US" dirty="0"/>
            </a:br>
            <a:r>
              <a:rPr lang="en-US" dirty="0"/>
              <a:t> - Each UF interprets workflow &amp; updates state</a:t>
            </a:r>
            <a:br>
              <a:rPr lang="en-US" dirty="0"/>
            </a:br>
            <a:r>
              <a:rPr lang="en-US" dirty="0"/>
              <a:t> - Increases complexity, harder to trace &amp; debug</a:t>
            </a:r>
          </a:p>
          <a:p>
            <a:r>
              <a:rPr lang="en-US" b="1" dirty="0"/>
              <a:t>Multi-Protocol Handling Without Adaptors</a:t>
            </a:r>
          </a:p>
          <a:p>
            <a:pPr marL="147600" lvl="1" indent="0">
              <a:buNone/>
            </a:pPr>
            <a:r>
              <a:rPr lang="en-US" b="1" dirty="0"/>
              <a:t>- </a:t>
            </a:r>
            <a:r>
              <a:rPr lang="en-US" dirty="0"/>
              <a:t>Integration of translation into all components or </a:t>
            </a:r>
            <a:r>
              <a:rPr lang="en-US" dirty="0" err="1"/>
              <a:t>Ufs</a:t>
            </a:r>
            <a:r>
              <a:rPr lang="en-US" dirty="0"/>
              <a:t> to handle all integration protocols</a:t>
            </a:r>
            <a:br>
              <a:rPr lang="en-US" dirty="0"/>
            </a:br>
            <a:r>
              <a:rPr lang="en-US" dirty="0"/>
              <a:t>- Leads to rigidity, poor evolvability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9771A9D-6387-161C-AEF0-49C571EFC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Design Alterna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B11BD9-3EB3-D6CC-8208-063EC00A5F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4594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9A546-6E11-7A2E-AD0C-08CFD2FBA6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0DD543-8295-99F0-3B12-3AA8643E31A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32A2-DB2A-236E-5148-03489C8FF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43ACDE-DF1E-330F-AAA3-C162FE721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 - Self Adaptive Adaptor – High level Ide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5724CF-2CF9-2CCC-F5FE-EDBEB9AA89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9B6C55-4A37-9F2B-A8F7-7CFA3C5D5F7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Self adaptive adaptor could look like this:</a:t>
            </a:r>
          </a:p>
          <a:p>
            <a:pPr lvl="1"/>
            <a:r>
              <a:rPr lang="en-US" dirty="0"/>
              <a:t>One adaptor in general instead of one per type</a:t>
            </a:r>
          </a:p>
          <a:p>
            <a:pPr lvl="1"/>
            <a:r>
              <a:rPr lang="en-US" dirty="0"/>
              <a:t>Implements the translation between the external system and CWS</a:t>
            </a:r>
          </a:p>
          <a:p>
            <a:pPr lvl="1"/>
            <a:r>
              <a:rPr lang="en-US" dirty="0"/>
              <a:t>Different interoperability protocols expressed in configuration files</a:t>
            </a:r>
          </a:p>
          <a:p>
            <a:pPr lvl="1"/>
            <a:r>
              <a:rPr lang="en-US" dirty="0"/>
              <a:t>The adaptor identifies external request “language” and load the correct configuration file to make the translation to CWS languag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223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0304C-0E4D-3B81-2474-7969658F31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F26F8D-B2CB-EB01-CBBA-872F8DB2F95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771A8A-CD6B-9F6C-3206-28C48AB610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2A3818C-506D-B0F1-547E-EFED6BE87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Scenarios Examp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9C248A-4555-CCB9-B552-32C73D8DE1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C58EAC-7713-1DCB-DBA4-E58F6E096B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3490" y="893977"/>
            <a:ext cx="6098959" cy="20596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7E703E-BAE3-97FA-4DD6-886792F71B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5839" y="3090873"/>
            <a:ext cx="7732449" cy="149382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5617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05DAF-1E75-DA78-0FA0-ECECE1BC8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C72F1C-1DF1-030C-601D-13C4A067DED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224AA-7F86-6871-6F1B-E6697696457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EC7EECA-FA82-1CD3-D69F-F57357D33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A93862-3DD2-42F8-B5FC-E930B1DF85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BC4DFAF-9AC7-C4AC-0FF3-A2ECF0B043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199" y="604726"/>
            <a:ext cx="5819055" cy="24138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E05B91-EDDD-70D6-CE7D-D5869D67F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0911" y="3005438"/>
            <a:ext cx="5785914" cy="204662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093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B5C4AC-2958-D990-3D35-47BCB7D2CE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ABF4CB-7035-D66D-50EF-21526A3D47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B20DC-915C-9E4F-E5CA-993071AD6F2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8870A09-F049-5B67-7767-243B843DF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432525-84F5-36C5-A57E-1007AD685A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CA9E37-42A9-71F3-6D19-E5FA4A3444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318" y="932290"/>
            <a:ext cx="7975348" cy="30693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661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18B734-625C-F4DE-7235-40E8C1FF3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5D2AAC-A017-40C3-84C1-DAA3DA7435F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00719F-42BC-2F8F-F7E6-4853CCCE37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ADE96E-382B-0F25-F0F3-62B935347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894392"/>
            <a:ext cx="8138160" cy="3484800"/>
          </a:xfrm>
        </p:spPr>
        <p:txBody>
          <a:bodyPr/>
          <a:lstStyle/>
          <a:p>
            <a:r>
              <a:rPr lang="en-US" b="1" dirty="0"/>
              <a:t>Challenges with Current CWS</a:t>
            </a:r>
          </a:p>
          <a:p>
            <a:pPr lvl="1"/>
            <a:r>
              <a:rPr lang="en-US" dirty="0"/>
              <a:t>Hard-coded workflows </a:t>
            </a:r>
          </a:p>
          <a:p>
            <a:pPr lvl="1"/>
            <a:r>
              <a:rPr lang="en-US" dirty="0"/>
              <a:t>Require system customization, maintain different system releases per hospital.</a:t>
            </a:r>
          </a:p>
          <a:p>
            <a:pPr lvl="1"/>
            <a:r>
              <a:rPr lang="en-US" dirty="0"/>
              <a:t>Integration is difficult due to heterogeneous IT environments (EHRs, EMRs, LIS, etc.).</a:t>
            </a:r>
          </a:p>
          <a:p>
            <a:pPr lvl="1"/>
            <a:endParaRPr lang="en-US" dirty="0"/>
          </a:p>
          <a:p>
            <a:r>
              <a:rPr lang="en-US" dirty="0"/>
              <a:t> </a:t>
            </a:r>
            <a:r>
              <a:rPr lang="en-US" b="1" dirty="0"/>
              <a:t>Core Problem</a:t>
            </a:r>
          </a:p>
          <a:p>
            <a:pPr lvl="1"/>
            <a:r>
              <a:rPr lang="en-US" dirty="0"/>
              <a:t>CWSs cannot adapt to hospital-specific workflows or hospital environments without code changes.</a:t>
            </a:r>
          </a:p>
          <a:p>
            <a:pPr lvl="1"/>
            <a:endParaRPr lang="en-US" dirty="0"/>
          </a:p>
          <a:p>
            <a:r>
              <a:rPr lang="en-US" b="1" dirty="0"/>
              <a:t>Thesis Objective/Gap - Design an evolvable CWS:</a:t>
            </a:r>
          </a:p>
          <a:p>
            <a:pPr lvl="1"/>
            <a:r>
              <a:rPr lang="en-US" dirty="0"/>
              <a:t>Ability of a system to accommodate changes with minimal cost while maintaining its architectural integrity.</a:t>
            </a:r>
          </a:p>
          <a:p>
            <a:pPr lvl="1"/>
            <a:r>
              <a:rPr lang="en-US" dirty="0"/>
              <a:t>Supports workflow customization &amp; system adaptation to different environments without code modification.</a:t>
            </a:r>
          </a:p>
          <a:p>
            <a:pPr lvl="1"/>
            <a:r>
              <a:rPr lang="en-US" dirty="0"/>
              <a:t>Utilize single CWS release across hospitals.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01AFB8E-8029-9E82-9ED9-A071D7C87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- Thesis Objec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3264CB-D6D0-1FFC-925C-6C063092C3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2924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99887-C942-20B6-DFD6-B32629D05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3CDCD7-9E31-A72A-D3F6-25C922CEB06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8422-1FC6-1EC2-5C7F-CB4ABB0E94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6350647-E42D-6B0B-CBD7-2243C23F3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F903A5-C91E-10F5-1843-9A58925033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E19AF8-4D28-0C3E-6644-8F12F3C843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695" y="637447"/>
            <a:ext cx="7430610" cy="13670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B3D648-5FE6-5C7C-14AA-DE94A42EB9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0487" y="2004518"/>
            <a:ext cx="5863026" cy="265687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8923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C61105-4492-0FEB-B471-33833EAD9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767AAB-78A2-CC43-3ED1-41693EFB890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534BB-8B6C-5F00-FC98-15C1BA896F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3028797-7FF1-663D-5E6D-8CED1F16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AC49DF-BC9C-F84B-BB24-F05202F221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7BACB18-AE41-6265-21B2-4523D77B61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2506" y="653608"/>
            <a:ext cx="7688574" cy="38362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4896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861DB-B38B-85B7-8B7B-ADE5BF513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423582-B6DF-63DF-6A05-EC968F8276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429D6E-7B5E-639D-7FE2-A4AC121BD7B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708C4A-8923-60EA-B740-C2D2CD16F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547E28-9695-AB54-D242-CB873F6020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25FB0F-0105-8817-BAAA-637D8D301B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82122"/>
            <a:ext cx="9144000" cy="19059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772B1F-DEB7-6E9E-B266-CE0F4FF9FD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7152" y="2743332"/>
            <a:ext cx="3614871" cy="19428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5951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8DB8F9-C6C5-1FF0-9DE3-63E76BBAF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E974FC-66A6-8A31-64C9-8E66844CBB3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CDB55A-FEC0-B68B-76D6-03C1AE42E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239E50-4C6A-742C-5092-816682034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Change Scenarios Examples Proof of conce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290E53-CA19-B8AF-2531-6FAB5868A5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11903FD-C137-4A9E-7FD5-13563B8150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95129" y="587456"/>
            <a:ext cx="4714043" cy="208863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DD7197-01BD-60D9-5B00-15148FB18E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2204" y="2697110"/>
            <a:ext cx="7119891" cy="234364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425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57EF4F-D991-9B6F-896B-4CEF45A80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27AB9-C500-477C-C755-5CBCD3B50B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2333BE-3DB7-5256-3D9F-7D800C66311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87ED78-5666-0015-1371-4CFC3BCF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13153"/>
            <a:ext cx="8138160" cy="719137"/>
          </a:xfrm>
        </p:spPr>
        <p:txBody>
          <a:bodyPr/>
          <a:lstStyle/>
          <a:p>
            <a:r>
              <a:rPr lang="en-US" dirty="0"/>
              <a:t>Backup Slides -  BPMN CMMN and other alternativ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AEADDA-FE14-9066-74F2-48BD84489A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094EF9-E2A2-F6D8-617C-D7B94DCC9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3223" y="670574"/>
            <a:ext cx="4129521" cy="4178103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6052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B183F3-4064-3CB4-2649-2F1824A80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365135-2495-16BA-A2D3-C098DDC2067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DE145D-16BF-B003-BEAC-DA0E977EF5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1506F7-F484-371D-94CE-1AB32979F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294823"/>
            <a:ext cx="8138160" cy="719137"/>
          </a:xfrm>
        </p:spPr>
        <p:txBody>
          <a:bodyPr/>
          <a:lstStyle/>
          <a:p>
            <a:r>
              <a:rPr lang="en-US" dirty="0"/>
              <a:t>Literature Re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C72076-9C4D-D69D-BCE3-26CDFEBD5F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1AD550B-3E9A-2BF3-ED9C-3B8AEFD9972E}"/>
              </a:ext>
            </a:extLst>
          </p:cNvPr>
          <p:cNvSpPr txBox="1"/>
          <p:nvPr/>
        </p:nvSpPr>
        <p:spPr>
          <a:xfrm>
            <a:off x="797853" y="1005168"/>
            <a:ext cx="5015620" cy="34317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Two focus areas: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ystem Evolvability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tudies focusing on Clinical Workflows &amp; CW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endParaRPr lang="en-US" sz="1400" dirty="0"/>
          </a:p>
          <a:p>
            <a:pPr algn="l">
              <a:spcAft>
                <a:spcPts val="600"/>
              </a:spcAft>
              <a:buSzPct val="75000"/>
            </a:pPr>
            <a:r>
              <a:rPr lang="en-US" sz="1400" b="1" dirty="0"/>
              <a:t>System Evolvability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Evolvability Assessment Perform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System Architecture Consider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Requirements/Infusion Requirements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Literature Review Conduct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ase Study Includ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Empirical Study Conduct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E23603-2B01-40AE-5893-11395F94A34A}"/>
              </a:ext>
            </a:extLst>
          </p:cNvPr>
          <p:cNvSpPr txBox="1"/>
          <p:nvPr/>
        </p:nvSpPr>
        <p:spPr>
          <a:xfrm>
            <a:off x="4765434" y="2430151"/>
            <a:ext cx="5015620" cy="13849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SzPct val="75000"/>
            </a:pPr>
            <a:r>
              <a:rPr lang="en-US" sz="1400" b="1" dirty="0"/>
              <a:t>Clinical Workflow &amp; CWS Studies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Workflow Modeling and Formalization Discuss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WS Architecture &amp; Components Discussed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Causes of Clinical Workflow Variations Identified </a:t>
            </a:r>
          </a:p>
          <a:p>
            <a:pPr marL="285750" indent="-285750" algn="l">
              <a:spcAft>
                <a:spcPts val="600"/>
              </a:spcAft>
              <a:buSzPct val="75000"/>
              <a:buFont typeface="Arial" panose="020B0604020202020204" pitchFamily="34" charset="0"/>
              <a:buChar char="•"/>
            </a:pPr>
            <a:r>
              <a:rPr lang="en-US" sz="1400" dirty="0"/>
              <a:t>Real-World Clinical Workflow Guidelines Examples 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3737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AECB0-2CBC-E78F-697B-5369E7074D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46B55D-7050-E7A0-9146-74E9614A2F3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400E70-F684-3632-AC2D-57C29416E7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643E99-A5C0-E392-E5CC-E9923C258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109" y="294823"/>
            <a:ext cx="8138160" cy="719137"/>
          </a:xfrm>
        </p:spPr>
        <p:txBody>
          <a:bodyPr/>
          <a:lstStyle/>
          <a:p>
            <a:r>
              <a:rPr lang="en-US" dirty="0"/>
              <a:t>Literature Review – Summary &amp; Insigh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FAC06D-5FA6-8B06-4335-5E578A9B5E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5C13DC0-D9C1-C301-483C-600DDE1A94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277100"/>
              </p:ext>
            </p:extLst>
          </p:nvPr>
        </p:nvGraphicFramePr>
        <p:xfrm>
          <a:off x="382096" y="1013960"/>
          <a:ext cx="8571404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438">
                  <a:extLst>
                    <a:ext uri="{9D8B030D-6E8A-4147-A177-3AD203B41FA5}">
                      <a16:colId xmlns:a16="http://schemas.microsoft.com/office/drawing/2014/main" val="557650152"/>
                    </a:ext>
                  </a:extLst>
                </a:gridCol>
                <a:gridCol w="6600966">
                  <a:extLst>
                    <a:ext uri="{9D8B030D-6E8A-4147-A177-3AD203B41FA5}">
                      <a16:colId xmlns:a16="http://schemas.microsoft.com/office/drawing/2014/main" val="19760302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Viewpoint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000" b="1" dirty="0"/>
                        <a:t>Methods/Ideas Used in Literature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72367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System Requirement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PESTEL analysis</a:t>
                      </a:r>
                      <a:r>
                        <a:rPr lang="en-US" sz="1000" dirty="0"/>
                        <a:t>, </a:t>
                      </a:r>
                      <a:r>
                        <a:rPr lang="en-US" sz="1000" b="1" dirty="0"/>
                        <a:t>scenario-based analysis,</a:t>
                      </a:r>
                      <a:r>
                        <a:rPr lang="en-US" sz="1000" dirty="0"/>
                        <a:t> (Delta) DSM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5622543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System Architecture/ System Qualities for Evolvability</a:t>
                      </a:r>
                      <a:endParaRPr lang="en-US" sz="1000" dirty="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Design for Changeability (</a:t>
                      </a:r>
                      <a:r>
                        <a:rPr lang="en-US" sz="1000" b="1" dirty="0" err="1"/>
                        <a:t>DfC</a:t>
                      </a:r>
                      <a:r>
                        <a:rPr lang="en-US" sz="1000" b="1" dirty="0"/>
                        <a:t>) - Qualities selection (adaptability, scalability, extensibility, modularity, robustness, flexibility, and agility.)</a:t>
                      </a:r>
                      <a:r>
                        <a:rPr lang="en-US" sz="1000" dirty="0"/>
                        <a:t>, dynamic reconfiguration (e.g., JADDA), reverse architecting, A3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4992524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System Architecture for CW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Workflow engine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3406756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Variation Cause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0" dirty="0"/>
                        <a:t>Reveal workflow configuration points due to medical expertise, organizational context, </a:t>
                      </a:r>
                      <a:r>
                        <a:rPr lang="en-US" sz="1000" dirty="0"/>
                        <a:t>decision-making, regulations etc.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1387048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Workflow Modeling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Petri Nets</a:t>
                      </a:r>
                      <a:r>
                        <a:rPr lang="en-US" sz="1000" dirty="0"/>
                        <a:t>, UML, XPDL/</a:t>
                      </a:r>
                      <a:r>
                        <a:rPr lang="en-US" sz="1000" b="1" dirty="0"/>
                        <a:t>XML</a:t>
                      </a:r>
                      <a:r>
                        <a:rPr lang="en-US" sz="1000" dirty="0"/>
                        <a:t>, computer-interpretable models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3652147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Evolvability Assessment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 dirty="0"/>
                        <a:t>Scenario-based evaluation</a:t>
                      </a:r>
                      <a:r>
                        <a:rPr lang="en-US" sz="1000" dirty="0"/>
                        <a:t>, expert judgment, Delta DSM, Epoch-Era Analysis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6964738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1"/>
                        <a:t>Case Studies</a:t>
                      </a:r>
                      <a:endParaRPr lang="en-US" sz="1000"/>
                    </a:p>
                  </a:txBody>
                  <a:tcPr marL="50501" marR="50501" marT="25250" marB="25250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b="0" dirty="0"/>
                        <a:t>MRI systems, Philips architecture</a:t>
                      </a:r>
                      <a:r>
                        <a:rPr lang="en-US" sz="1000" dirty="0"/>
                        <a:t>, microservice evolvability, SASE framework</a:t>
                      </a:r>
                    </a:p>
                  </a:txBody>
                  <a:tcPr marL="50501" marR="50501" marT="25250" marB="25250" anchor="ctr"/>
                </a:tc>
                <a:extLst>
                  <a:ext uri="{0D108BD9-81ED-4DB2-BD59-A6C34878D82A}">
                    <a16:rowId xmlns:a16="http://schemas.microsoft.com/office/drawing/2014/main" val="2100314572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8888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0130DE-1EA0-B1F4-4771-09709C21A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4B0CE0-E00C-2BA2-F2AE-EC9DC47F60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752D35-5961-B154-4677-C4DD20996A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0BF313-B005-3A01-F248-40B2F211D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RQ1: What are the key characteristics and evolving requirements of clinical workflows &amp; CWS that should be supported by the proposed system design?</a:t>
            </a:r>
          </a:p>
          <a:p>
            <a:r>
              <a:rPr lang="en-US" dirty="0"/>
              <a:t>RQ2: How can the CWS architecture be designed to support workflow configurability and system adaptability without requiring code-level modification and satisfy the identified current and future system requirements?</a:t>
            </a:r>
          </a:p>
          <a:p>
            <a:r>
              <a:rPr lang="en-US" dirty="0"/>
              <a:t>RQ3: What are appropriate criteria/metrics/questions for assessing evolvability of CWS?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CE9BF6-F992-972C-C6D2-6A0366C75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&amp; Methodolog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8AFC3A-290D-5BCB-CCF8-6EF13EBA9F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D4B0713-2431-3B82-831B-CFA19C7FAA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47257" y="2862031"/>
            <a:ext cx="3918053" cy="154758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2019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0AD4E-F431-EDEB-5985-ABDC63D83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1F2AF-0371-9C49-F572-521AE440867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DAEE42-6A8A-21F3-987B-0FB4AD4E9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 - Workflow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52E26D-A412-60FB-765A-0D16A985FF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5597" y="4686028"/>
            <a:ext cx="773232" cy="1624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ADF2D3-E1B0-C89A-75DF-6157E1A048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8851" y="3006987"/>
            <a:ext cx="1723828" cy="463321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A2629390-797A-CFCD-10BE-B69450A2B598}"/>
              </a:ext>
            </a:extLst>
          </p:cNvPr>
          <p:cNvSpPr/>
          <p:nvPr/>
        </p:nvSpPr>
        <p:spPr>
          <a:xfrm>
            <a:off x="2570474" y="3137007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D4863E7-6B95-D2D7-7483-A31315358A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90353" y="3129864"/>
            <a:ext cx="60999" cy="60999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2B17E550-DD41-0171-9039-554247B5B021}"/>
              </a:ext>
            </a:extLst>
          </p:cNvPr>
          <p:cNvSpPr/>
          <p:nvPr/>
        </p:nvSpPr>
        <p:spPr>
          <a:xfrm>
            <a:off x="1890353" y="314029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3A12F00-D867-7A06-9E76-D1E8F662A9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88785" y="2796115"/>
            <a:ext cx="2280213" cy="8585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3303C05-E1FD-7115-FB5D-0EB1E9F7BD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94564" y="3137007"/>
            <a:ext cx="77677" cy="5741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7404F32B-FEAF-187F-F969-C1174AFE7915}"/>
              </a:ext>
            </a:extLst>
          </p:cNvPr>
          <p:cNvSpPr/>
          <p:nvPr/>
        </p:nvSpPr>
        <p:spPr>
          <a:xfrm>
            <a:off x="3898332" y="314029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95F919A-8F1E-C0E3-CEBF-54585597AC2F}"/>
              </a:ext>
            </a:extLst>
          </p:cNvPr>
          <p:cNvSpPr/>
          <p:nvPr/>
        </p:nvSpPr>
        <p:spPr>
          <a:xfrm>
            <a:off x="4256040" y="314029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711C600E-37D4-5F74-4D16-FD7BAD36455D}"/>
              </a:ext>
            </a:extLst>
          </p:cNvPr>
          <p:cNvSpPr/>
          <p:nvPr/>
        </p:nvSpPr>
        <p:spPr>
          <a:xfrm>
            <a:off x="4256040" y="314029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E2B4708-1437-C835-1C8E-E8A41B7BF66F}"/>
              </a:ext>
            </a:extLst>
          </p:cNvPr>
          <p:cNvSpPr/>
          <p:nvPr/>
        </p:nvSpPr>
        <p:spPr>
          <a:xfrm>
            <a:off x="4598420" y="289740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4AE68D5-4879-D820-BEA0-80FBB8C66E52}"/>
              </a:ext>
            </a:extLst>
          </p:cNvPr>
          <p:cNvSpPr/>
          <p:nvPr/>
        </p:nvSpPr>
        <p:spPr>
          <a:xfrm>
            <a:off x="4598420" y="341259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A2ED1A0-C218-CFB8-EDB6-5F1E3A6F2A1C}"/>
              </a:ext>
            </a:extLst>
          </p:cNvPr>
          <p:cNvSpPr/>
          <p:nvPr/>
        </p:nvSpPr>
        <p:spPr>
          <a:xfrm>
            <a:off x="4598419" y="289740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6F0BCFA-B5F1-D520-CBB1-399A0406D9AC}"/>
              </a:ext>
            </a:extLst>
          </p:cNvPr>
          <p:cNvSpPr/>
          <p:nvPr/>
        </p:nvSpPr>
        <p:spPr>
          <a:xfrm>
            <a:off x="4598418" y="341259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2A9DC3D-1E20-F189-AA5A-62744AA21C86}"/>
              </a:ext>
            </a:extLst>
          </p:cNvPr>
          <p:cNvSpPr/>
          <p:nvPr/>
        </p:nvSpPr>
        <p:spPr>
          <a:xfrm>
            <a:off x="5569630" y="3111760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D267ED5-0E94-4227-0B80-5292D8124ABD}"/>
              </a:ext>
            </a:extLst>
          </p:cNvPr>
          <p:cNvSpPr/>
          <p:nvPr/>
        </p:nvSpPr>
        <p:spPr>
          <a:xfrm>
            <a:off x="5264233" y="289740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CDECFA7-D9C3-33B7-4385-961ECDC8A828}"/>
              </a:ext>
            </a:extLst>
          </p:cNvPr>
          <p:cNvSpPr/>
          <p:nvPr/>
        </p:nvSpPr>
        <p:spPr>
          <a:xfrm>
            <a:off x="5268995" y="341259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868BC43-3F4B-C359-702C-0E77E387DB00}"/>
              </a:ext>
            </a:extLst>
          </p:cNvPr>
          <p:cNvSpPr/>
          <p:nvPr/>
        </p:nvSpPr>
        <p:spPr>
          <a:xfrm>
            <a:off x="5562513" y="314029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2077A77-C146-38FB-2AD9-E0637723D4AD}"/>
              </a:ext>
            </a:extLst>
          </p:cNvPr>
          <p:cNvSpPr/>
          <p:nvPr/>
        </p:nvSpPr>
        <p:spPr>
          <a:xfrm>
            <a:off x="2248061" y="3111760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98FFA52-4567-AD8E-DADD-10FAD3BCDF11}"/>
              </a:ext>
            </a:extLst>
          </p:cNvPr>
          <p:cNvSpPr/>
          <p:nvPr/>
        </p:nvSpPr>
        <p:spPr>
          <a:xfrm>
            <a:off x="2951583" y="3111100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D8EF547-1CA2-3E32-7564-B6060B1EACBD}"/>
              </a:ext>
            </a:extLst>
          </p:cNvPr>
          <p:cNvSpPr/>
          <p:nvPr/>
        </p:nvSpPr>
        <p:spPr>
          <a:xfrm>
            <a:off x="4255955" y="3106338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48314DA-926D-B7F6-63EF-5B79ADFB2D96}"/>
              </a:ext>
            </a:extLst>
          </p:cNvPr>
          <p:cNvSpPr/>
          <p:nvPr/>
        </p:nvSpPr>
        <p:spPr>
          <a:xfrm>
            <a:off x="4928891" y="2866731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07AF88A-00DD-4F08-6007-3EA1C2A20D4B}"/>
              </a:ext>
            </a:extLst>
          </p:cNvPr>
          <p:cNvSpPr/>
          <p:nvPr/>
        </p:nvSpPr>
        <p:spPr>
          <a:xfrm>
            <a:off x="4928890" y="3381921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83D25F19-3361-AA31-EDA3-52499943E5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57955" y="2825464"/>
            <a:ext cx="2240103" cy="79987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C4C322C-BB37-D906-02B0-9040B0BDE1E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8211" y="3137007"/>
            <a:ext cx="45719" cy="59797"/>
          </a:xfrm>
          <a:prstGeom prst="rect">
            <a:avLst/>
          </a:prstGeom>
        </p:spPr>
      </p:pic>
      <p:sp>
        <p:nvSpPr>
          <p:cNvPr id="57" name="Oval 56">
            <a:extLst>
              <a:ext uri="{FF2B5EF4-FFF2-40B4-BE49-F238E27FC236}">
                <a16:creationId xmlns:a16="http://schemas.microsoft.com/office/drawing/2014/main" id="{C7310F24-4BD3-0034-EC70-C08DA01B71ED}"/>
              </a:ext>
            </a:extLst>
          </p:cNvPr>
          <p:cNvSpPr/>
          <p:nvPr/>
        </p:nvSpPr>
        <p:spPr>
          <a:xfrm>
            <a:off x="6361094" y="313804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7AC34B0-B768-EDAD-3A18-7EFB43CDB8F6}"/>
              </a:ext>
            </a:extLst>
          </p:cNvPr>
          <p:cNvSpPr/>
          <p:nvPr/>
        </p:nvSpPr>
        <p:spPr>
          <a:xfrm>
            <a:off x="6702750" y="3100832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B37371C-86E5-9966-B726-5A408740EC37}"/>
              </a:ext>
            </a:extLst>
          </p:cNvPr>
          <p:cNvSpPr/>
          <p:nvPr/>
        </p:nvSpPr>
        <p:spPr>
          <a:xfrm>
            <a:off x="7346654" y="2847399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4A6FD34-6484-5E8A-2CB1-7F99B95602F2}"/>
              </a:ext>
            </a:extLst>
          </p:cNvPr>
          <p:cNvSpPr/>
          <p:nvPr/>
        </p:nvSpPr>
        <p:spPr>
          <a:xfrm>
            <a:off x="7346652" y="3368780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EBEE5AE-4938-FCC6-581D-A5B91DB76F7E}"/>
              </a:ext>
            </a:extLst>
          </p:cNvPr>
          <p:cNvSpPr/>
          <p:nvPr/>
        </p:nvSpPr>
        <p:spPr>
          <a:xfrm>
            <a:off x="7000198" y="313804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E87798F5-1FBF-9F48-339B-A6DB1E3DB877}"/>
              </a:ext>
            </a:extLst>
          </p:cNvPr>
          <p:cNvSpPr/>
          <p:nvPr/>
        </p:nvSpPr>
        <p:spPr>
          <a:xfrm>
            <a:off x="7339537" y="3399455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8DFB3741-0467-22D3-E2B7-A714047B3F98}"/>
              </a:ext>
            </a:extLst>
          </p:cNvPr>
          <p:cNvSpPr/>
          <p:nvPr/>
        </p:nvSpPr>
        <p:spPr>
          <a:xfrm>
            <a:off x="7674694" y="3135532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C5223EC-48C3-0BB6-AFFE-B2411044CA3D}"/>
              </a:ext>
            </a:extLst>
          </p:cNvPr>
          <p:cNvSpPr/>
          <p:nvPr/>
        </p:nvSpPr>
        <p:spPr>
          <a:xfrm>
            <a:off x="8040630" y="3105594"/>
            <a:ext cx="45719" cy="11906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B8B514D6-6BDD-0ED6-E3A5-F219810AA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6244606"/>
              </p:ext>
            </p:extLst>
          </p:nvPr>
        </p:nvGraphicFramePr>
        <p:xfrm>
          <a:off x="3783845" y="3881048"/>
          <a:ext cx="227291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376">
                  <a:extLst>
                    <a:ext uri="{9D8B030D-6E8A-4147-A177-3AD203B41FA5}">
                      <a16:colId xmlns:a16="http://schemas.microsoft.com/office/drawing/2014/main" val="750122224"/>
                    </a:ext>
                  </a:extLst>
                </a:gridCol>
                <a:gridCol w="1394543">
                  <a:extLst>
                    <a:ext uri="{9D8B030D-6E8A-4147-A177-3AD203B41FA5}">
                      <a16:colId xmlns:a16="http://schemas.microsoft.com/office/drawing/2014/main" val="1390484528"/>
                    </a:ext>
                  </a:extLst>
                </a:gridCol>
              </a:tblGrid>
              <a:tr h="219328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Petri 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Simplified No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305228"/>
                  </a:ext>
                </a:extLst>
              </a:tr>
              <a:tr h="219328">
                <a:tc>
                  <a:txBody>
                    <a:bodyPr/>
                    <a:lstStyle/>
                    <a:p>
                      <a:r>
                        <a:rPr lang="en-US" sz="900" dirty="0"/>
                        <a:t>Tran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Task, Ev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3731195"/>
                  </a:ext>
                </a:extLst>
              </a:tr>
              <a:tr h="219328">
                <a:tc>
                  <a:txBody>
                    <a:bodyPr/>
                    <a:lstStyle/>
                    <a:p>
                      <a:r>
                        <a:rPr lang="en-US" sz="900" dirty="0"/>
                        <a:t>Pla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ondi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3894573"/>
                  </a:ext>
                </a:extLst>
              </a:tr>
              <a:tr h="221284">
                <a:tc>
                  <a:txBody>
                    <a:bodyPr/>
                    <a:lstStyle/>
                    <a:p>
                      <a:r>
                        <a:rPr lang="en-US" sz="900" dirty="0"/>
                        <a:t>Directed Ar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Transition (Control Flow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31995"/>
                  </a:ext>
                </a:extLst>
              </a:tr>
            </a:tbl>
          </a:graphicData>
        </a:graphic>
      </p:graphicFrame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3982C74D-2F05-BCF6-DB55-6CEE23C76B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535569"/>
              </p:ext>
            </p:extLst>
          </p:nvPr>
        </p:nvGraphicFramePr>
        <p:xfrm>
          <a:off x="3061023" y="1537041"/>
          <a:ext cx="4626778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3269">
                  <a:extLst>
                    <a:ext uri="{9D8B030D-6E8A-4147-A177-3AD203B41FA5}">
                      <a16:colId xmlns:a16="http://schemas.microsoft.com/office/drawing/2014/main" val="2121942464"/>
                    </a:ext>
                  </a:extLst>
                </a:gridCol>
                <a:gridCol w="3623509">
                  <a:extLst>
                    <a:ext uri="{9D8B030D-6E8A-4147-A177-3AD203B41FA5}">
                      <a16:colId xmlns:a16="http://schemas.microsoft.com/office/drawing/2014/main" val="2471705098"/>
                    </a:ext>
                  </a:extLst>
                </a:gridCol>
              </a:tblGrid>
              <a:tr h="22358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El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900" dirty="0"/>
                        <a:t>Definition (Simplified Notatio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2332114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 dirty="0"/>
                        <a:t>Task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Executable action performed during workflow execu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1319029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/>
                        <a:t>Condition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logical decision point that influences the control flow of the workflow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9904229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/>
                        <a:t>Event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trigger that initiates, continues, or terminates the workflow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6287707"/>
                  </a:ext>
                </a:extLst>
              </a:tr>
              <a:tr h="223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b="1" dirty="0"/>
                        <a:t>Transition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900" dirty="0"/>
                        <a:t>A directional control flow between tasks, conditions, and ev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539566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0167B90-14C3-E960-ACE9-6D9A92DE5A06}"/>
              </a:ext>
            </a:extLst>
          </p:cNvPr>
          <p:cNvSpPr txBox="1"/>
          <p:nvPr/>
        </p:nvSpPr>
        <p:spPr>
          <a:xfrm>
            <a:off x="407258" y="4188207"/>
            <a:ext cx="457200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Mapping Petri Net – Simplified Not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204BF3-ACC6-6AF8-793F-389D717056B5}"/>
              </a:ext>
            </a:extLst>
          </p:cNvPr>
          <p:cNvSpPr txBox="1"/>
          <p:nvPr/>
        </p:nvSpPr>
        <p:spPr>
          <a:xfrm>
            <a:off x="407258" y="3031440"/>
            <a:ext cx="457200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etri Nets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7CC2BC-B54E-B9C4-D2C7-0775AC3CE044}"/>
              </a:ext>
            </a:extLst>
          </p:cNvPr>
          <p:cNvSpPr txBox="1"/>
          <p:nvPr/>
        </p:nvSpPr>
        <p:spPr>
          <a:xfrm>
            <a:off x="384847" y="1952063"/>
            <a:ext cx="457200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implified Notation Elements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A3F87A-44C2-4530-D46B-569494788208}"/>
              </a:ext>
            </a:extLst>
          </p:cNvPr>
          <p:cNvSpPr txBox="1"/>
          <p:nvPr/>
        </p:nvSpPr>
        <p:spPr>
          <a:xfrm>
            <a:off x="407258" y="954809"/>
            <a:ext cx="83727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linical Workflow (Technically): A procedure consisting of a structured, predefined series of tasks, decision points (conditions), transitions, and events whose execution achieves a defined outcome, standardizing care delivery.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4009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6.17284E-7 L 0.07413 -0.00031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98" y="-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09877E-6 L 0.08247 0.00031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1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6.17284E-7 L 0.03802 0.00062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92" y="31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6.17284E-7 L 0.03646 -0.0463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3" y="-2315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87 0.00309 L 0.03733 0.05247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10" y="2469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000"/>
                            </p:stCondLst>
                            <p:childTnLst>
                              <p:par>
                                <p:cTn id="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2.83951E-6 L 0.07291 2.83951E-6 " pathEditMode="relative" rAng="0" ptsTypes="AA">
                                      <p:cBhvr>
                                        <p:cTn id="67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4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4.19753E-6 L 0.07291 4.19753E-6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46" y="0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000"/>
                            </p:stCondLst>
                            <p:childTnLst>
                              <p:par>
                                <p:cTn id="80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00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2.83951E-6 L 0.03177 0.046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80" y="2315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19753E-6 L 0.03125 -0.05309 " pathEditMode="relative" rAng="0" ptsTypes="AA">
                                      <p:cBhvr>
                                        <p:cTn id="100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3" y="-26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2000"/>
                            </p:stCondLst>
                            <p:childTnLst>
                              <p:par>
                                <p:cTn id="102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2000"/>
                            </p:stCondLst>
                            <p:childTnLst>
                              <p:par>
                                <p:cTn id="107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6.17284E-7 L 0.0408 0.00062 " pathEditMode="relative" rAng="0" ptsTypes="AA">
                                      <p:cBhvr>
                                        <p:cTn id="110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1" y="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7.40741E-7 L 0.06996 -0.00093 " pathEditMode="relative" rAng="0" ptsTypes="AA">
                                      <p:cBhvr>
                                        <p:cTn id="114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90" y="-62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18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7.40741E-7 L 0.03681 0.04784 " pathEditMode="relative" rAng="0" ptsTypes="AA">
                                      <p:cBhvr>
                                        <p:cTn id="133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0" y="23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2000"/>
                            </p:stCondLst>
                            <p:childTnLst>
                              <p:par>
                                <p:cTn id="135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52 -0.00185 L 0.03733 -0.05062 " pathEditMode="relative" rAng="0" ptsTypes="AA">
                                      <p:cBhvr>
                                        <p:cTn id="140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0" y="-24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4000"/>
                            </p:stCondLst>
                            <p:childTnLst>
                              <p:par>
                                <p:cTn id="142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4 -0.00061 L 0.0783 -0.00031 " pathEditMode="relative" rAng="0" ptsTypes="AA">
                                      <p:cBhvr>
                                        <p:cTn id="153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2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3" grpId="0" animBg="1"/>
      <p:bldP spid="13" grpId="1" animBg="1"/>
      <p:bldP spid="22" grpId="0" animBg="1"/>
      <p:bldP spid="22" grpId="1" animBg="1"/>
      <p:bldP spid="23" grpId="0" animBg="1"/>
      <p:bldP spid="23" grpId="1" animBg="1"/>
      <p:bldP spid="23" grpId="2" animBg="1"/>
      <p:bldP spid="26" grpId="0" animBg="1"/>
      <p:bldP spid="26" grpId="1" animBg="1"/>
      <p:bldP spid="26" grpId="2" animBg="1"/>
      <p:bldP spid="27" grpId="0" animBg="1"/>
      <p:bldP spid="27" grpId="1" animBg="1"/>
      <p:bldP spid="29" grpId="0" animBg="1"/>
      <p:bldP spid="29" grpId="1" animBg="1"/>
      <p:bldP spid="37" grpId="0" animBg="1"/>
      <p:bldP spid="37" grpId="1" animBg="1"/>
      <p:bldP spid="37" grpId="2" animBg="1"/>
      <p:bldP spid="38" grpId="0" animBg="1"/>
      <p:bldP spid="38" grpId="1" animBg="1"/>
      <p:bldP spid="38" grpId="2" animBg="1"/>
      <p:bldP spid="39" grpId="0" animBg="1"/>
      <p:bldP spid="39" grpId="1" animBg="1"/>
      <p:bldP spid="40" grpId="0" animBg="1"/>
      <p:bldP spid="40" grpId="1" animBg="1"/>
      <p:bldP spid="40" grpId="2" animBg="1"/>
      <p:bldP spid="41" grpId="0" animBg="1"/>
      <p:bldP spid="41" grpId="1" animBg="1"/>
      <p:bldP spid="41" grpId="2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6" grpId="0" animBg="1"/>
      <p:bldP spid="46" grpId="1" animBg="1"/>
      <p:bldP spid="47" grpId="0" animBg="1"/>
      <p:bldP spid="47" grpId="1" animBg="1"/>
      <p:bldP spid="57" grpId="0" animBg="1"/>
      <p:bldP spid="57" grpId="1" animBg="1"/>
      <p:bldP spid="58" grpId="0" animBg="1"/>
      <p:bldP spid="59" grpId="0" animBg="1"/>
      <p:bldP spid="59" grpId="1" animBg="1"/>
      <p:bldP spid="60" grpId="0" animBg="1"/>
      <p:bldP spid="60" grpId="1" animBg="1"/>
      <p:bldP spid="62" grpId="0" animBg="1"/>
      <p:bldP spid="62" grpId="1" animBg="1"/>
      <p:bldP spid="62" grpId="2" animBg="1"/>
      <p:bldP spid="64" grpId="0" animBg="1"/>
      <p:bldP spid="64" grpId="1" animBg="1"/>
      <p:bldP spid="64" grpId="2" animBg="1"/>
      <p:bldP spid="65" grpId="0" animBg="1"/>
      <p:bldP spid="65" grpId="1" animBg="1"/>
      <p:bldP spid="66" grpId="0" animBg="1"/>
      <p:bldP spid="6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8DA1A-0ADB-E007-03EC-AB45D124E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5D3B17-F708-0ECE-CD93-535F5E40608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525A8-7877-F4F7-49F2-01ACF5DABF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8CBD953-9C62-7DAB-C2E1-1B870B64C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Analysis - Workflow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ED0A98-32DD-3E44-293D-06196AC019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7091" y="4686216"/>
            <a:ext cx="773232" cy="162461"/>
          </a:xfrm>
          <a:prstGeom prst="rect">
            <a:avLst/>
          </a:prstGeom>
        </p:spPr>
      </p:pic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C780530-A128-968E-2CA3-19A5E5C34B5E}"/>
              </a:ext>
            </a:extLst>
          </p:cNvPr>
          <p:cNvCxnSpPr>
            <a:cxnSpLocks/>
            <a:stCxn id="26" idx="3"/>
            <a:endCxn id="58" idx="1"/>
          </p:cNvCxnSpPr>
          <p:nvPr/>
        </p:nvCxnSpPr>
        <p:spPr>
          <a:xfrm flipV="1">
            <a:off x="1894105" y="2624165"/>
            <a:ext cx="518658" cy="741176"/>
          </a:xfrm>
          <a:prstGeom prst="bentConnector3">
            <a:avLst>
              <a:gd name="adj1" fmla="val 4216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81827691-20A6-AB26-6C16-57F92E045184}"/>
              </a:ext>
            </a:extLst>
          </p:cNvPr>
          <p:cNvCxnSpPr>
            <a:cxnSpLocks/>
            <a:stCxn id="24" idx="3"/>
            <a:endCxn id="58" idx="1"/>
          </p:cNvCxnSpPr>
          <p:nvPr/>
        </p:nvCxnSpPr>
        <p:spPr>
          <a:xfrm flipV="1">
            <a:off x="1921173" y="2624165"/>
            <a:ext cx="491590" cy="218634"/>
          </a:xfrm>
          <a:prstGeom prst="bentConnector3">
            <a:avLst>
              <a:gd name="adj1" fmla="val 3837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8EBEE40F-818B-F52B-5599-08CB0DE9E8A2}"/>
              </a:ext>
            </a:extLst>
          </p:cNvPr>
          <p:cNvCxnSpPr>
            <a:cxnSpLocks/>
            <a:stCxn id="25" idx="3"/>
            <a:endCxn id="58" idx="1"/>
          </p:cNvCxnSpPr>
          <p:nvPr/>
        </p:nvCxnSpPr>
        <p:spPr>
          <a:xfrm>
            <a:off x="1855393" y="2327395"/>
            <a:ext cx="557370" cy="296770"/>
          </a:xfrm>
          <a:prstGeom prst="bentConnector3">
            <a:avLst>
              <a:gd name="adj1" fmla="val 4635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C96B72EF-5B05-4B43-2861-DD5B3111EBEF}"/>
              </a:ext>
            </a:extLst>
          </p:cNvPr>
          <p:cNvCxnSpPr>
            <a:cxnSpLocks/>
            <a:stCxn id="23" idx="3"/>
            <a:endCxn id="58" idx="1"/>
          </p:cNvCxnSpPr>
          <p:nvPr/>
        </p:nvCxnSpPr>
        <p:spPr>
          <a:xfrm>
            <a:off x="1879289" y="1859251"/>
            <a:ext cx="533474" cy="764914"/>
          </a:xfrm>
          <a:prstGeom prst="bentConnector3">
            <a:avLst>
              <a:gd name="adj1" fmla="val 434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D3CCAAB6-E786-3C42-1BA6-1A5930245DA0}"/>
              </a:ext>
            </a:extLst>
          </p:cNvPr>
          <p:cNvCxnSpPr>
            <a:cxnSpLocks/>
            <a:stCxn id="58" idx="0"/>
            <a:endCxn id="65" idx="1"/>
          </p:cNvCxnSpPr>
          <p:nvPr/>
        </p:nvCxnSpPr>
        <p:spPr>
          <a:xfrm rot="5400000" flipH="1" flipV="1">
            <a:off x="2572555" y="1965909"/>
            <a:ext cx="626080" cy="13856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0A72C54-130B-5015-6A9F-06AF2C406C79}"/>
              </a:ext>
            </a:extLst>
          </p:cNvPr>
          <p:cNvCxnSpPr>
            <a:cxnSpLocks/>
            <a:stCxn id="58" idx="2"/>
            <a:endCxn id="31" idx="1"/>
          </p:cNvCxnSpPr>
          <p:nvPr/>
        </p:nvCxnSpPr>
        <p:spPr>
          <a:xfrm rot="16200000" flipH="1">
            <a:off x="2976289" y="2740120"/>
            <a:ext cx="652917" cy="97287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6D17A6D-AB92-6A61-F5FB-681CE49CEC49}"/>
              </a:ext>
            </a:extLst>
          </p:cNvPr>
          <p:cNvSpPr txBox="1"/>
          <p:nvPr/>
        </p:nvSpPr>
        <p:spPr>
          <a:xfrm>
            <a:off x="2803141" y="2996655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3B1851-705C-EBCF-351F-6E22FD89ABAC}"/>
              </a:ext>
            </a:extLst>
          </p:cNvPr>
          <p:cNvSpPr txBox="1"/>
          <p:nvPr/>
        </p:nvSpPr>
        <p:spPr>
          <a:xfrm>
            <a:off x="2775356" y="2016382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FC5ECC0-E3A9-3BB7-E8AB-D666F73FE62D}"/>
              </a:ext>
            </a:extLst>
          </p:cNvPr>
          <p:cNvSpPr/>
          <p:nvPr/>
        </p:nvSpPr>
        <p:spPr>
          <a:xfrm>
            <a:off x="986744" y="1727717"/>
            <a:ext cx="892545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Measure Heart Rate (H)</a:t>
            </a:r>
            <a:endParaRPr lang="en-NL" sz="800" b="1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5EEEF2F-DB77-2213-9E3B-EF702E3E91BC}"/>
              </a:ext>
            </a:extLst>
          </p:cNvPr>
          <p:cNvSpPr/>
          <p:nvPr/>
        </p:nvSpPr>
        <p:spPr>
          <a:xfrm>
            <a:off x="957085" y="2657790"/>
            <a:ext cx="964088" cy="37001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Measure Respiration Rate</a:t>
            </a:r>
          </a:p>
          <a:p>
            <a:pPr algn="ctr"/>
            <a:r>
              <a:rPr lang="en-US" sz="800" b="1" dirty="0"/>
              <a:t>(R)</a:t>
            </a:r>
            <a:endParaRPr lang="en-NL" sz="800" b="1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BCFEF1F-C426-2F4D-2E0C-082AAFFDE623}"/>
              </a:ext>
            </a:extLst>
          </p:cNvPr>
          <p:cNvSpPr/>
          <p:nvPr/>
        </p:nvSpPr>
        <p:spPr>
          <a:xfrm>
            <a:off x="962848" y="2142386"/>
            <a:ext cx="892545" cy="37001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Measure Temperature (T)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19D8FE5-97B1-E8B3-AC72-4AB2557EE2F3}"/>
              </a:ext>
            </a:extLst>
          </p:cNvPr>
          <p:cNvSpPr/>
          <p:nvPr/>
        </p:nvSpPr>
        <p:spPr>
          <a:xfrm>
            <a:off x="958780" y="3156657"/>
            <a:ext cx="935325" cy="41736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Mental Status</a:t>
            </a:r>
          </a:p>
          <a:p>
            <a:pPr algn="ctr"/>
            <a:r>
              <a:rPr lang="en-US" sz="800" b="1" dirty="0"/>
              <a:t>(M)</a:t>
            </a:r>
            <a:endParaRPr lang="en-NL" sz="800" b="1" dirty="0"/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7B0DF36-F300-4111-EB6D-0DF2C15889EE}"/>
              </a:ext>
            </a:extLst>
          </p:cNvPr>
          <p:cNvCxnSpPr>
            <a:cxnSpLocks/>
          </p:cNvCxnSpPr>
          <p:nvPr/>
        </p:nvCxnSpPr>
        <p:spPr>
          <a:xfrm flipV="1">
            <a:off x="452172" y="1860242"/>
            <a:ext cx="529559" cy="813199"/>
          </a:xfrm>
          <a:prstGeom prst="bentConnector3">
            <a:avLst>
              <a:gd name="adj1" fmla="val 479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0F56D5D2-4FEA-B588-D950-FBC22280CE76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457185" y="2327395"/>
            <a:ext cx="505663" cy="345055"/>
          </a:xfrm>
          <a:prstGeom prst="bentConnector3">
            <a:avLst>
              <a:gd name="adj1" fmla="val 4924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9E1C2588-FC08-4273-F507-2363F3D3A26C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437425" y="2671128"/>
            <a:ext cx="519660" cy="171671"/>
          </a:xfrm>
          <a:prstGeom prst="bentConnector3">
            <a:avLst>
              <a:gd name="adj1" fmla="val 5146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B9481357-C08B-D038-56A5-1713B650A5DE}"/>
              </a:ext>
            </a:extLst>
          </p:cNvPr>
          <p:cNvCxnSpPr>
            <a:cxnSpLocks/>
            <a:endCxn id="26" idx="1"/>
          </p:cNvCxnSpPr>
          <p:nvPr/>
        </p:nvCxnSpPr>
        <p:spPr>
          <a:xfrm rot="16200000" flipH="1">
            <a:off x="474985" y="2881546"/>
            <a:ext cx="715096" cy="25249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3410F65-C5B6-FA94-31EE-5BC6C8C546C2}"/>
              </a:ext>
            </a:extLst>
          </p:cNvPr>
          <p:cNvSpPr/>
          <p:nvPr/>
        </p:nvSpPr>
        <p:spPr>
          <a:xfrm>
            <a:off x="3789182" y="3288927"/>
            <a:ext cx="755509" cy="528173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700" b="1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0F21ECA-08EB-6F1C-1726-D1768E0384C5}"/>
              </a:ext>
            </a:extLst>
          </p:cNvPr>
          <p:cNvCxnSpPr>
            <a:cxnSpLocks/>
            <a:stCxn id="62" idx="2"/>
            <a:endCxn id="31" idx="0"/>
          </p:cNvCxnSpPr>
          <p:nvPr/>
        </p:nvCxnSpPr>
        <p:spPr>
          <a:xfrm flipH="1">
            <a:off x="4166937" y="1998084"/>
            <a:ext cx="6902" cy="12908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A976585-F557-1014-CE5E-94734359BBE9}"/>
              </a:ext>
            </a:extLst>
          </p:cNvPr>
          <p:cNvSpPr txBox="1"/>
          <p:nvPr/>
        </p:nvSpPr>
        <p:spPr>
          <a:xfrm>
            <a:off x="3871880" y="2602879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96AC8FA-D8E5-C3B7-2DEF-11FF809137EA}"/>
              </a:ext>
            </a:extLst>
          </p:cNvPr>
          <p:cNvCxnSpPr>
            <a:cxnSpLocks/>
            <a:stCxn id="62" idx="3"/>
            <a:endCxn id="36" idx="1"/>
          </p:cNvCxnSpPr>
          <p:nvPr/>
        </p:nvCxnSpPr>
        <p:spPr>
          <a:xfrm flipV="1">
            <a:off x="4533178" y="1720069"/>
            <a:ext cx="745820" cy="20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AF7AAAA-98D8-D134-3599-18BEC2FF7CB3}"/>
              </a:ext>
            </a:extLst>
          </p:cNvPr>
          <p:cNvSpPr txBox="1"/>
          <p:nvPr/>
        </p:nvSpPr>
        <p:spPr>
          <a:xfrm>
            <a:off x="4536379" y="1544057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2B212C6-54B7-1FC1-71A8-F02E082452AC}"/>
              </a:ext>
            </a:extLst>
          </p:cNvPr>
          <p:cNvSpPr/>
          <p:nvPr/>
        </p:nvSpPr>
        <p:spPr>
          <a:xfrm>
            <a:off x="5278998" y="1588535"/>
            <a:ext cx="941820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Patient Wellness (W)</a:t>
            </a:r>
            <a:endParaRPr lang="en-NL" sz="800" b="1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6538802-EA4F-ADC0-169D-281ECFD41D30}"/>
              </a:ext>
            </a:extLst>
          </p:cNvPr>
          <p:cNvSpPr/>
          <p:nvPr/>
        </p:nvSpPr>
        <p:spPr>
          <a:xfrm>
            <a:off x="5278998" y="1933869"/>
            <a:ext cx="892545" cy="26306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Record  Age (A)</a:t>
            </a:r>
            <a:endParaRPr lang="en-NL" sz="800" b="1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79872EE-342B-CAD1-5814-9B2A753BD5E6}"/>
              </a:ext>
            </a:extLst>
          </p:cNvPr>
          <p:cNvSpPr/>
          <p:nvPr/>
        </p:nvSpPr>
        <p:spPr>
          <a:xfrm>
            <a:off x="5252748" y="2265481"/>
            <a:ext cx="931580" cy="318436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Assess Surgical History (S)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C1951EF-071E-2AEE-5300-CF5E23609BDA}"/>
              </a:ext>
            </a:extLst>
          </p:cNvPr>
          <p:cNvSpPr/>
          <p:nvPr/>
        </p:nvSpPr>
        <p:spPr>
          <a:xfrm>
            <a:off x="5220281" y="2655196"/>
            <a:ext cx="1000537" cy="38699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Evaluate Immune Comptonization (AIDS </a:t>
            </a:r>
            <a:r>
              <a:rPr lang="en-US" sz="800" b="1" dirty="0" err="1"/>
              <a:t>etc</a:t>
            </a:r>
            <a:r>
              <a:rPr lang="en-US" sz="800" b="1" dirty="0"/>
              <a:t>) (I)</a:t>
            </a:r>
            <a:endParaRPr lang="en-NL" sz="800" b="1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7FE872F0-4FAF-4447-1221-696B30DE5262}"/>
              </a:ext>
            </a:extLst>
          </p:cNvPr>
          <p:cNvSpPr/>
          <p:nvPr/>
        </p:nvSpPr>
        <p:spPr>
          <a:xfrm>
            <a:off x="5267864" y="3138160"/>
            <a:ext cx="909036" cy="374053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Check for Chronic Illness (C)</a:t>
            </a:r>
            <a:endParaRPr lang="en-NL" sz="800" b="1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35FC8E4-1842-E310-F656-51881E5A00F5}"/>
              </a:ext>
            </a:extLst>
          </p:cNvPr>
          <p:cNvCxnSpPr>
            <a:cxnSpLocks/>
          </p:cNvCxnSpPr>
          <p:nvPr/>
        </p:nvCxnSpPr>
        <p:spPr>
          <a:xfrm>
            <a:off x="4702863" y="1728019"/>
            <a:ext cx="1932" cy="15952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88167179-6C6C-4B40-9188-296C1AF7D5E3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4702863" y="2065403"/>
            <a:ext cx="5761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0E2BA47-FC93-5FC7-373F-90121DC0FA05}"/>
              </a:ext>
            </a:extLst>
          </p:cNvPr>
          <p:cNvCxnSpPr>
            <a:cxnSpLocks/>
            <a:endCxn id="38" idx="1"/>
          </p:cNvCxnSpPr>
          <p:nvPr/>
        </p:nvCxnSpPr>
        <p:spPr>
          <a:xfrm>
            <a:off x="4700613" y="2424699"/>
            <a:ext cx="5521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4929E075-BC3B-3C80-7444-AF021D8A2C90}"/>
              </a:ext>
            </a:extLst>
          </p:cNvPr>
          <p:cNvCxnSpPr>
            <a:cxnSpLocks/>
            <a:endCxn id="39" idx="1"/>
          </p:cNvCxnSpPr>
          <p:nvPr/>
        </p:nvCxnSpPr>
        <p:spPr>
          <a:xfrm>
            <a:off x="4700613" y="2848691"/>
            <a:ext cx="5196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3A3EC1F6-2A64-CC7E-78BF-C377D152C43B}"/>
              </a:ext>
            </a:extLst>
          </p:cNvPr>
          <p:cNvCxnSpPr>
            <a:cxnSpLocks/>
            <a:endCxn id="40" idx="1"/>
          </p:cNvCxnSpPr>
          <p:nvPr/>
        </p:nvCxnSpPr>
        <p:spPr>
          <a:xfrm>
            <a:off x="4707045" y="3325187"/>
            <a:ext cx="5608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62CB13B-AA53-307A-CDD0-0B1818B4F767}"/>
              </a:ext>
            </a:extLst>
          </p:cNvPr>
          <p:cNvCxnSpPr>
            <a:cxnSpLocks/>
            <a:stCxn id="36" idx="3"/>
            <a:endCxn id="59" idx="1"/>
          </p:cNvCxnSpPr>
          <p:nvPr/>
        </p:nvCxnSpPr>
        <p:spPr>
          <a:xfrm flipV="1">
            <a:off x="6220818" y="1720068"/>
            <a:ext cx="48200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3DE7662-0422-2C07-826B-D567CE8433D6}"/>
              </a:ext>
            </a:extLst>
          </p:cNvPr>
          <p:cNvCxnSpPr>
            <a:cxnSpLocks/>
          </p:cNvCxnSpPr>
          <p:nvPr/>
        </p:nvCxnSpPr>
        <p:spPr>
          <a:xfrm flipH="1">
            <a:off x="6562912" y="1720068"/>
            <a:ext cx="751" cy="16031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1076BD8C-F79A-11DA-E4F2-7DD2AAB9F62F}"/>
              </a:ext>
            </a:extLst>
          </p:cNvPr>
          <p:cNvCxnSpPr>
            <a:cxnSpLocks/>
            <a:stCxn id="37" idx="3"/>
          </p:cNvCxnSpPr>
          <p:nvPr/>
        </p:nvCxnSpPr>
        <p:spPr>
          <a:xfrm>
            <a:off x="6171543" y="2065403"/>
            <a:ext cx="388515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741C089-09A2-FDCE-CCCE-7F0E9B65690F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6184328" y="2424699"/>
            <a:ext cx="375730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13EC8C7-F169-A3FB-3533-111CDE8829A6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6220818" y="2848691"/>
            <a:ext cx="339240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BA623CD-9F41-AFAB-F9CE-54A2D8C01B66}"/>
              </a:ext>
            </a:extLst>
          </p:cNvPr>
          <p:cNvCxnSpPr>
            <a:cxnSpLocks/>
          </p:cNvCxnSpPr>
          <p:nvPr/>
        </p:nvCxnSpPr>
        <p:spPr>
          <a:xfrm flipV="1">
            <a:off x="6180834" y="3323265"/>
            <a:ext cx="390357" cy="1495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FBF819C7-C7FC-A6A2-0D44-8FF8F330770A}"/>
              </a:ext>
            </a:extLst>
          </p:cNvPr>
          <p:cNvCxnSpPr>
            <a:cxnSpLocks/>
            <a:stCxn id="59" idx="2"/>
            <a:endCxn id="31" idx="3"/>
          </p:cNvCxnSpPr>
          <p:nvPr/>
        </p:nvCxnSpPr>
        <p:spPr>
          <a:xfrm rot="5400000">
            <a:off x="5065141" y="1487618"/>
            <a:ext cx="1544946" cy="258584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7E9B427C-74F3-82CB-9019-A282A02E8D22}"/>
              </a:ext>
            </a:extLst>
          </p:cNvPr>
          <p:cNvSpPr txBox="1"/>
          <p:nvPr/>
        </p:nvSpPr>
        <p:spPr>
          <a:xfrm>
            <a:off x="7078398" y="2645574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No</a:t>
            </a:r>
            <a:endParaRPr lang="en-NL" sz="900" b="1" dirty="0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A2DDAD43-6E58-9585-289A-A18CCBA03376}"/>
              </a:ext>
            </a:extLst>
          </p:cNvPr>
          <p:cNvCxnSpPr>
            <a:cxnSpLocks/>
            <a:stCxn id="59" idx="3"/>
            <a:endCxn id="55" idx="1"/>
          </p:cNvCxnSpPr>
          <p:nvPr/>
        </p:nvCxnSpPr>
        <p:spPr>
          <a:xfrm>
            <a:off x="7558253" y="1720068"/>
            <a:ext cx="298558" cy="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94A1136-C667-D482-E374-BFEA18E2531C}"/>
              </a:ext>
            </a:extLst>
          </p:cNvPr>
          <p:cNvSpPr/>
          <p:nvPr/>
        </p:nvSpPr>
        <p:spPr>
          <a:xfrm>
            <a:off x="7856811" y="1459615"/>
            <a:ext cx="843885" cy="531169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Measure Lactate (within 3 hours)</a:t>
            </a:r>
            <a:endParaRPr lang="en-US" sz="800" b="1" dirty="0"/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3A23255-A438-B29B-6DCF-87F7952A3404}"/>
              </a:ext>
            </a:extLst>
          </p:cNvPr>
          <p:cNvCxnSpPr>
            <a:cxnSpLocks/>
            <a:stCxn id="55" idx="3"/>
          </p:cNvCxnSpPr>
          <p:nvPr/>
        </p:nvCxnSpPr>
        <p:spPr>
          <a:xfrm flipV="1">
            <a:off x="8700696" y="1720069"/>
            <a:ext cx="171766" cy="51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C68FAFCF-A343-055A-6799-A1CB06254F69}"/>
              </a:ext>
            </a:extLst>
          </p:cNvPr>
          <p:cNvSpPr txBox="1"/>
          <p:nvPr/>
        </p:nvSpPr>
        <p:spPr>
          <a:xfrm>
            <a:off x="7475781" y="1521720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Yes</a:t>
            </a:r>
            <a:endParaRPr lang="en-NL" sz="900" b="1" dirty="0"/>
          </a:p>
        </p:txBody>
      </p:sp>
      <p:sp>
        <p:nvSpPr>
          <p:cNvPr id="58" name="Flowchart: Decision 57">
            <a:extLst>
              <a:ext uri="{FF2B5EF4-FFF2-40B4-BE49-F238E27FC236}">
                <a16:creationId xmlns:a16="http://schemas.microsoft.com/office/drawing/2014/main" id="{B0F429BC-EA87-CD7D-884E-B362BA522FCA}"/>
              </a:ext>
            </a:extLst>
          </p:cNvPr>
          <p:cNvSpPr/>
          <p:nvPr/>
        </p:nvSpPr>
        <p:spPr>
          <a:xfrm>
            <a:off x="2412763" y="2348232"/>
            <a:ext cx="807098" cy="55186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b="1" dirty="0"/>
          </a:p>
        </p:txBody>
      </p:sp>
      <p:sp>
        <p:nvSpPr>
          <p:cNvPr id="59" name="Flowchart: Decision 58">
            <a:extLst>
              <a:ext uri="{FF2B5EF4-FFF2-40B4-BE49-F238E27FC236}">
                <a16:creationId xmlns:a16="http://schemas.microsoft.com/office/drawing/2014/main" id="{D0B4AAD3-3923-A079-76D4-1512C816C362}"/>
              </a:ext>
            </a:extLst>
          </p:cNvPr>
          <p:cNvSpPr/>
          <p:nvPr/>
        </p:nvSpPr>
        <p:spPr>
          <a:xfrm>
            <a:off x="6702820" y="1432068"/>
            <a:ext cx="855433" cy="576000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b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41A00B5-ADCB-6F5A-7C13-622D1CF670ED}"/>
              </a:ext>
            </a:extLst>
          </p:cNvPr>
          <p:cNvSpPr txBox="1"/>
          <p:nvPr/>
        </p:nvSpPr>
        <p:spPr>
          <a:xfrm>
            <a:off x="6708593" y="1521720"/>
            <a:ext cx="843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800" b="1" dirty="0">
                <a:solidFill>
                  <a:schemeClr val="bg1"/>
                </a:solidFill>
              </a:rPr>
              <a:t>(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W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A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S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I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+</a:t>
            </a:r>
            <a:r>
              <a:rPr lang="en-US" sz="800" b="1" dirty="0">
                <a:solidFill>
                  <a:schemeClr val="bg1"/>
                </a:solidFill>
              </a:rPr>
              <a:t>c(</a:t>
            </a:r>
            <a:r>
              <a:rPr lang="pl-PL" sz="800" b="1" dirty="0">
                <a:solidFill>
                  <a:schemeClr val="bg1"/>
                </a:solidFill>
              </a:rPr>
              <a:t>C</a:t>
            </a:r>
            <a:r>
              <a:rPr lang="en-US" sz="800" b="1" dirty="0">
                <a:solidFill>
                  <a:schemeClr val="bg1"/>
                </a:solidFill>
              </a:rPr>
              <a:t>)</a:t>
            </a:r>
            <a:r>
              <a:rPr lang="pl-PL" sz="800" b="1" dirty="0">
                <a:solidFill>
                  <a:schemeClr val="bg1"/>
                </a:solidFill>
              </a:rPr>
              <a:t>)</a:t>
            </a:r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pl-PL" sz="800" b="1" dirty="0">
                <a:solidFill>
                  <a:schemeClr val="bg1"/>
                </a:solidFill>
              </a:rPr>
              <a:t>≥1</a:t>
            </a:r>
            <a:endParaRPr lang="en-NL" sz="500" b="1" dirty="0">
              <a:solidFill>
                <a:schemeClr val="bg1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B488BED6-A8B1-8F7F-2304-271DC1B15B2C}"/>
              </a:ext>
            </a:extLst>
          </p:cNvPr>
          <p:cNvSpPr/>
          <p:nvPr/>
        </p:nvSpPr>
        <p:spPr>
          <a:xfrm>
            <a:off x="298577" y="2595349"/>
            <a:ext cx="154426" cy="14272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2" name="Flowchart: Decision 61">
            <a:extLst>
              <a:ext uri="{FF2B5EF4-FFF2-40B4-BE49-F238E27FC236}">
                <a16:creationId xmlns:a16="http://schemas.microsoft.com/office/drawing/2014/main" id="{E233FA34-31B3-CF44-2AF9-06B2EC1B5955}"/>
              </a:ext>
            </a:extLst>
          </p:cNvPr>
          <p:cNvSpPr/>
          <p:nvPr/>
        </p:nvSpPr>
        <p:spPr>
          <a:xfrm>
            <a:off x="3814499" y="1446219"/>
            <a:ext cx="718679" cy="55186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400" b="1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AE35CBC-6F6B-85B8-D0F7-D9EC878488C0}"/>
              </a:ext>
            </a:extLst>
          </p:cNvPr>
          <p:cNvSpPr txBox="1"/>
          <p:nvPr/>
        </p:nvSpPr>
        <p:spPr>
          <a:xfrm>
            <a:off x="3788285" y="1557169"/>
            <a:ext cx="755509" cy="546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firmed Infection</a:t>
            </a:r>
            <a:endParaRPr lang="en-NL" sz="800" b="1" dirty="0">
              <a:solidFill>
                <a:schemeClr val="bg1"/>
              </a:solidFill>
            </a:endParaRPr>
          </a:p>
          <a:p>
            <a:endParaRPr lang="en-NL" b="1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9E47FAA-E851-C8C0-4F13-3D1B800B61DB}"/>
              </a:ext>
            </a:extLst>
          </p:cNvPr>
          <p:cNvSpPr txBox="1"/>
          <p:nvPr/>
        </p:nvSpPr>
        <p:spPr>
          <a:xfrm>
            <a:off x="3688823" y="3303700"/>
            <a:ext cx="956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inue Standard Treatment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C954D2D-DEBE-97EE-8C47-78B778B779AE}"/>
              </a:ext>
            </a:extLst>
          </p:cNvPr>
          <p:cNvSpPr/>
          <p:nvPr/>
        </p:nvSpPr>
        <p:spPr>
          <a:xfrm>
            <a:off x="2954879" y="1524851"/>
            <a:ext cx="676845" cy="394601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 Evaluate for Infection </a:t>
            </a:r>
            <a:endParaRPr lang="en-NL" sz="800" b="1" dirty="0"/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4369D656-1312-E571-A22C-03C443ED7ED9}"/>
              </a:ext>
            </a:extLst>
          </p:cNvPr>
          <p:cNvCxnSpPr>
            <a:cxnSpLocks/>
            <a:stCxn id="65" idx="3"/>
            <a:endCxn id="62" idx="1"/>
          </p:cNvCxnSpPr>
          <p:nvPr/>
        </p:nvCxnSpPr>
        <p:spPr>
          <a:xfrm>
            <a:off x="3631724" y="1722152"/>
            <a:ext cx="1827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99CEC7A3-5A49-9B93-333A-A382544895B4}"/>
              </a:ext>
            </a:extLst>
          </p:cNvPr>
          <p:cNvSpPr txBox="1"/>
          <p:nvPr/>
        </p:nvSpPr>
        <p:spPr>
          <a:xfrm>
            <a:off x="182123" y="2372057"/>
            <a:ext cx="45183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tart</a:t>
            </a:r>
            <a:endParaRPr lang="en-NL" sz="900" b="1" dirty="0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75DFFE0-F5D9-B37C-D11D-0BFBD45209D1}"/>
              </a:ext>
            </a:extLst>
          </p:cNvPr>
          <p:cNvCxnSpPr>
            <a:cxnSpLocks/>
            <a:stCxn id="31" idx="2"/>
          </p:cNvCxnSpPr>
          <p:nvPr/>
        </p:nvCxnSpPr>
        <p:spPr>
          <a:xfrm rot="16200000" flipH="1">
            <a:off x="6458896" y="1525140"/>
            <a:ext cx="121607" cy="470552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F18DB41C-98AB-80A7-4B05-ADB41C0915F3}"/>
              </a:ext>
            </a:extLst>
          </p:cNvPr>
          <p:cNvSpPr txBox="1"/>
          <p:nvPr/>
        </p:nvSpPr>
        <p:spPr>
          <a:xfrm>
            <a:off x="2497075" y="2433116"/>
            <a:ext cx="6983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bg1"/>
                </a:solidFill>
              </a:rPr>
              <a:t>(c(H)+c(T)+</a:t>
            </a:r>
          </a:p>
          <a:p>
            <a:r>
              <a:rPr lang="en-US" sz="800" b="1" dirty="0">
                <a:solidFill>
                  <a:schemeClr val="bg1"/>
                </a:solidFill>
              </a:rPr>
              <a:t> c(R)+c(M))</a:t>
            </a:r>
          </a:p>
          <a:p>
            <a:pPr algn="ctr"/>
            <a:r>
              <a:rPr lang="en-US" sz="800" b="1" dirty="0">
                <a:solidFill>
                  <a:schemeClr val="bg1"/>
                </a:solidFill>
              </a:rPr>
              <a:t>≥2</a:t>
            </a:r>
            <a:endParaRPr lang="en-NL" sz="1400" b="1" dirty="0">
              <a:solidFill>
                <a:schemeClr val="bg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192F1490-86BC-0E74-E29E-E2C1DD7A587F}"/>
              </a:ext>
            </a:extLst>
          </p:cNvPr>
          <p:cNvSpPr/>
          <p:nvPr/>
        </p:nvSpPr>
        <p:spPr>
          <a:xfrm>
            <a:off x="349223" y="263785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AEE06915-DEBA-FB51-2DF6-BE5FF51C292B}"/>
              </a:ext>
            </a:extLst>
          </p:cNvPr>
          <p:cNvSpPr/>
          <p:nvPr/>
        </p:nvSpPr>
        <p:spPr>
          <a:xfrm>
            <a:off x="347050" y="2640356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3889C00-72A1-8B3E-62F5-C9DA7498E1FA}"/>
              </a:ext>
            </a:extLst>
          </p:cNvPr>
          <p:cNvSpPr/>
          <p:nvPr/>
        </p:nvSpPr>
        <p:spPr>
          <a:xfrm>
            <a:off x="344800" y="263048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0435FB6-356F-959D-4912-5B610826B820}"/>
              </a:ext>
            </a:extLst>
          </p:cNvPr>
          <p:cNvSpPr/>
          <p:nvPr/>
        </p:nvSpPr>
        <p:spPr>
          <a:xfrm>
            <a:off x="347050" y="2635352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C3E23626-7AE0-5D03-1300-A6DCD9812640}"/>
              </a:ext>
            </a:extLst>
          </p:cNvPr>
          <p:cNvSpPr/>
          <p:nvPr/>
        </p:nvSpPr>
        <p:spPr>
          <a:xfrm>
            <a:off x="1760744" y="2298539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B72CBF7-AEB5-0E03-DD38-52F224C54404}"/>
              </a:ext>
            </a:extLst>
          </p:cNvPr>
          <p:cNvSpPr/>
          <p:nvPr/>
        </p:nvSpPr>
        <p:spPr>
          <a:xfrm>
            <a:off x="1832316" y="2816608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C5AEB8E8-08D6-F6E6-8E6F-9A1A2D19B379}"/>
              </a:ext>
            </a:extLst>
          </p:cNvPr>
          <p:cNvSpPr/>
          <p:nvPr/>
        </p:nvSpPr>
        <p:spPr>
          <a:xfrm>
            <a:off x="1801315" y="3336485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6B8F823-711C-7567-84D1-A629ACBE8478}"/>
              </a:ext>
            </a:extLst>
          </p:cNvPr>
          <p:cNvSpPr/>
          <p:nvPr/>
        </p:nvSpPr>
        <p:spPr>
          <a:xfrm>
            <a:off x="1801315" y="1830320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005D8AF-FA8F-9DFB-4CA1-66399CAC3A9D}"/>
              </a:ext>
            </a:extLst>
          </p:cNvPr>
          <p:cNvSpPr/>
          <p:nvPr/>
        </p:nvSpPr>
        <p:spPr>
          <a:xfrm>
            <a:off x="2536694" y="2595308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F47EF802-E82E-5D5C-26B0-5103ADB4A8AD}"/>
              </a:ext>
            </a:extLst>
          </p:cNvPr>
          <p:cNvSpPr/>
          <p:nvPr/>
        </p:nvSpPr>
        <p:spPr>
          <a:xfrm>
            <a:off x="2772015" y="2379834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1BBBF426-1478-AF98-DDAA-D6E59D2EC5C2}"/>
              </a:ext>
            </a:extLst>
          </p:cNvPr>
          <p:cNvSpPr/>
          <p:nvPr/>
        </p:nvSpPr>
        <p:spPr>
          <a:xfrm>
            <a:off x="3526827" y="1691212"/>
            <a:ext cx="59951" cy="5771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E59ADB2-4D92-AFE6-2234-DBC8B0AB7939}"/>
              </a:ext>
            </a:extLst>
          </p:cNvPr>
          <p:cNvSpPr txBox="1"/>
          <p:nvPr/>
        </p:nvSpPr>
        <p:spPr>
          <a:xfrm>
            <a:off x="8813500" y="1575796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…</a:t>
            </a:r>
            <a:endParaRPr lang="en-NL" sz="9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73B1740-B39D-D155-94E2-7DC830D250D8}"/>
              </a:ext>
            </a:extLst>
          </p:cNvPr>
          <p:cNvSpPr txBox="1"/>
          <p:nvPr/>
        </p:nvSpPr>
        <p:spPr>
          <a:xfrm>
            <a:off x="8813500" y="3792434"/>
            <a:ext cx="381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…</a:t>
            </a:r>
            <a:endParaRPr lang="en-NL" sz="900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2788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1.48148E-6 L 0.07205 -0.0660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94" y="-330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1.23457E-6 L 0.0717 0.1376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682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-1.23457E-6 L 0.07031 0.0358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7" y="179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83951E-6 L 0.07448 -0.1577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15" y="-79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2.46914E-7 L 0.07882 0.1478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1" y="73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8.64198E-7 L 0.08316 0.05741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49" y="28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3.58025E-6 L 0.07638 -0.0426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9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9.87654E-7 L 0.07813 -0.14444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06" y="-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5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74 -0.00092 L 0.01163 -0.00092 C 0.0177 -0.00092 0.02552 -0.01265 0.02552 -0.02191 L 0.02552 -0.04259 " pathEditMode="relative" rAng="0" ptsTypes="AAAA">
                                      <p:cBhvr>
                                        <p:cTn id="68" dur="2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4" y="-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000"/>
                            </p:stCondLst>
                            <p:childTnLst>
                              <p:par>
                                <p:cTn id="70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1.23457E-7 L 0.02153 -0.13272 " pathEditMode="relative" rAng="0" ptsTypes="AA">
                                      <p:cBhvr>
                                        <p:cTn id="75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66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7.40741E-7 L 0.04097 0.00154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9" y="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5" grpId="0" animBg="1"/>
      <p:bldP spid="75" grpId="1" animBg="1"/>
      <p:bldP spid="75" grpId="2" animBg="1"/>
      <p:bldP spid="76" grpId="0" animBg="1"/>
      <p:bldP spid="76" grpId="1" animBg="1"/>
      <p:bldP spid="76" grpId="2" animBg="1"/>
      <p:bldP spid="77" grpId="0" animBg="1"/>
      <p:bldP spid="77" grpId="1" animBg="1"/>
      <p:bldP spid="77" grpId="2" animBg="1"/>
      <p:bldP spid="78" grpId="0" animBg="1"/>
      <p:bldP spid="78" grpId="1" animBg="1"/>
      <p:bldP spid="78" grpId="2" animBg="1"/>
      <p:bldP spid="81" grpId="0" animBg="1"/>
      <p:bldP spid="81" grpId="1" animBg="1"/>
      <p:bldP spid="81" grpId="2" animBg="1"/>
      <p:bldP spid="81" grpId="3" animBg="1"/>
      <p:bldP spid="82" grpId="0" animBg="1"/>
      <p:bldP spid="82" grpId="1" animBg="1"/>
      <p:bldP spid="82" grpId="2" animBg="1"/>
      <p:bldP spid="83" grpId="0" animBg="1"/>
      <p:bldP spid="83" grpId="1" animBg="1"/>
      <p:bldP spid="83" grpId="2" animBg="1"/>
      <p:bldP spid="83" grpId="3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0" tIns="0" rIns="0" bIns="0" rtlCol="0" anchor="ctr"/>
      <a:lstStyle>
        <a:defPPr algn="ctr">
          <a:spcAft>
            <a:spcPts val="6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0" tIns="0" rIns="0" bIns="0" rtlCol="0">
        <a:sp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3355F0A886234BB5774045912E6DDF" ma:contentTypeVersion="14" ma:contentTypeDescription="Create a new document." ma:contentTypeScope="" ma:versionID="7bc74b48d96d9eeae5d8269612776b23">
  <xsd:schema xmlns:xsd="http://www.w3.org/2001/XMLSchema" xmlns:xs="http://www.w3.org/2001/XMLSchema" xmlns:p="http://schemas.microsoft.com/office/2006/metadata/properties" xmlns:ns3="941828c4-2bb6-4a05-8369-1635bee5fe5d" xmlns:ns4="3c250afa-d003-4206-b44c-2c703cd72bd7" targetNamespace="http://schemas.microsoft.com/office/2006/metadata/properties" ma:root="true" ma:fieldsID="1545e4d9095ab26734f71ef1f1009b92" ns3:_="" ns4:_="">
    <xsd:import namespace="941828c4-2bb6-4a05-8369-1635bee5fe5d"/>
    <xsd:import namespace="3c250afa-d003-4206-b44c-2c703cd72bd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3:MediaServiceGenerationTime" minOccurs="0"/>
                <xsd:element ref="ns3:MediaServiceEventHashCode" minOccurs="0"/>
                <xsd:element ref="ns3:MediaServiceSystemTags" minOccurs="0"/>
                <xsd:element ref="ns3:MediaLengthInSecond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1828c4-2bb6-4a05-8369-1635bee5fe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250afa-d003-4206-b44c-2c703cd72bd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.xml><?xml version="1.0" encoding="utf-8"?>
<TemplafyTemplateConfiguration><![CDATA[{"elementsMetadata":[],"transformationConfigurations":[],"templateName":"Philips Master Template","templateDescription":"","enableDocumentContentUpdater":false,"version":"2.0"}]]></TemplafyTemplateConfiguration>
</file>

<file path=customXml/item5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1.xml><?xml version="1.0" encoding="utf-8"?>
<TemplafyFormConfiguration><![CDATA[{"formFields":[],"formDataEntries":[]}]]></TemplafyFormConfiguration>
</file>

<file path=customXml/item52.xml><?xml version="1.0" encoding="utf-8"?>
<TemplafySlideFormConfiguration><![CDATA[{"formFields":[],"formDataEntries":[]}]]></TemplafySlideFormConfiguration>
</file>

<file path=customXml/item5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6.xml><?xml version="1.0" encoding="utf-8"?>
<TemplafySlideFormConfiguration><![CDATA[{"formFields":[],"formDataEntries":[]}]]></TemplafySlideFormConfiguration>
</file>

<file path=customXml/item5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58.xml><?xml version="1.0" encoding="utf-8"?>
<TemplafySlideFormConfiguration><![CDATA[{"formFields":[],"formDataEntries":[]}]]></TemplafySlideFormConfiguration>
</file>

<file path=customXml/item59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60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2.xml><?xml version="1.0" encoding="utf-8"?>
<TemplafySlideFormConfiguration><![CDATA[{"formFields":[],"formDataEntries":[]}]]></TemplafySlideFormConfiguration>
</file>

<file path=customXml/item63.xml><?xml version="1.0" encoding="utf-8"?>
<TemplafySlideFormConfiguration><![CDATA[{"formFields":[],"formDataEntries":[]}]]></TemplafySlideFormConfiguration>
</file>

<file path=customXml/item64.xml><?xml version="1.0" encoding="utf-8"?>
<TemplafySlideFormConfiguration><![CDATA[{"formFields":[],"formDataEntries":[]}]]></TemplafySlideFormConfiguration>
</file>

<file path=customXml/item6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41828c4-2bb6-4a05-8369-1635bee5fe5d" xsi:nil="true"/>
  </documentManagement>
</p:properties>
</file>

<file path=customXml/item69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70.xml><?xml version="1.0" encoding="utf-8"?>
<TemplafySlideFormConfiguration><![CDATA[{"formFields":[],"formDataEntries":[]}]]></TemplafySlideFormConfiguration>
</file>

<file path=customXml/item7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4.xml><?xml version="1.0" encoding="utf-8"?>
<TemplafySlideFormConfiguration><![CDATA[{"formFields":[],"formDataEntries":[]}]]></TemplafySlideFormConfiguration>
</file>

<file path=customXml/item7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76.xml><?xml version="1.0" encoding="utf-8"?>
<TemplafySlideFormConfiguration><![CDATA[{"formFields":[],"formDataEntries":[]}]]></TemplafySlideFormConfiguration>
</file>

<file path=customXml/item77.xml><?xml version="1.0" encoding="utf-8"?>
<TemplafySlideFormConfiguration><![CDATA[{"formFields":[],"formDataEntries":[]}]]></TemplafySlideFormConfiguration>
</file>

<file path=customXml/item78.xml><?xml version="1.0" encoding="utf-8"?>
<TemplafySlideFormConfiguration><![CDATA[{"formFields":[],"formDataEntries":[]}]]></TemplafySlideFormConfiguration>
</file>

<file path=customXml/item79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0.xml><?xml version="1.0" encoding="utf-8"?>
<TemplafySlideFormConfiguration><![CDATA[{"formFields":[],"formDataEntries":[]}]]></TemplafySlideFormConfiguration>
</file>

<file path=customXml/item81.xml><?xml version="1.0" encoding="utf-8"?>
<TemplafySlideFormConfiguration><![CDATA[{"formFields":[],"formDataEntries":[]}]]></TemplafySlideFormConfiguration>
</file>

<file path=customXml/item8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3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6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7.xml><?xml version="1.0" encoding="utf-8"?>
<TemplafySlideFormConfiguration><![CDATA[{"formFields":[],"formDataEntries":[]}]]></TemplafySlideFormConfiguration>
</file>

<file path=customXml/item88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89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.xml><?xml version="1.0" encoding="utf-8"?>
<TemplafySlideTemplateConfiguration><![CDATA[{"slideVersion":1,"isValidatorEnabled":false,"isLocked":false,"elementsMetadata":[],"slideId":"1219857522019270656","enableDocumentContentUpdater":false,"version":"2.0"}]]></TemplafySlideTemplateConfiguration>
</file>

<file path=customXml/item90.xml><?xml version="1.0" encoding="utf-8"?>
<TemplafySlideFormConfiguration><![CDATA[{"formFields":[],"formDataEntries":[]}]]></TemplafySlideFormConfiguration>
</file>

<file path=customXml/item91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2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3.xml><?xml version="1.0" encoding="utf-8"?>
<TemplafySlideFormConfiguration><![CDATA[{"formFields":[],"formDataEntries":[]}]]></TemplafySlideFormConfiguration>
</file>

<file path=customXml/item94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5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6.xml><?xml version="1.0" encoding="utf-8"?>
<TemplafySlideFormConfiguration><![CDATA[{"formFields":[],"formDataEntries":[]}]]></TemplafySlideFormConfiguration>
</file>

<file path=customXml/item97.xml><?xml version="1.0" encoding="utf-8"?>
<TemplafySlideTemplateConfiguration><![CDATA[{"slideVersion":1,"isValidatorEnabled":false,"isLocked":false,"elementsMetadata":[],"slideId":"1219857522019270660","enableDocumentContentUpdater":false,"version":"2.0"}]]></TemplafySlideTemplateConfiguration>
</file>

<file path=customXml/item98.xml><?xml version="1.0" encoding="utf-8"?>
<TemplafySlideFormConfiguration><![CDATA[{"formFields":[],"formDataEntries":[]}]]></TemplafySlideFormConfiguration>
</file>

<file path=customXml/item99.xml><?xml version="1.0" encoding="utf-8"?>
<TemplafySlideTemplateConfiguration><![CDATA[{"slideVersion":1,"isValidatorEnabled":false,"isLocked":false,"elementsMetadata":[],"slideId":"1219857522019270661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F2673893-9C04-4438-82B8-B825400FE8E2}">
  <ds:schemaRefs/>
</ds:datastoreItem>
</file>

<file path=customXml/itemProps10.xml><?xml version="1.0" encoding="utf-8"?>
<ds:datastoreItem xmlns:ds="http://schemas.openxmlformats.org/officeDocument/2006/customXml" ds:itemID="{E3D5C885-0D15-4244-9FB2-BEE8F02DD3C0}">
  <ds:schemaRefs/>
</ds:datastoreItem>
</file>

<file path=customXml/itemProps11.xml><?xml version="1.0" encoding="utf-8"?>
<ds:datastoreItem xmlns:ds="http://schemas.openxmlformats.org/officeDocument/2006/customXml" ds:itemID="{D6432328-6122-4B88-9C87-968FACE8ABEE}">
  <ds:schemaRefs/>
</ds:datastoreItem>
</file>

<file path=customXml/itemProps12.xml><?xml version="1.0" encoding="utf-8"?>
<ds:datastoreItem xmlns:ds="http://schemas.openxmlformats.org/officeDocument/2006/customXml" ds:itemID="{4CDE822A-A75F-425A-8B31-0B97265E5A13}">
  <ds:schemaRefs/>
</ds:datastoreItem>
</file>

<file path=customXml/itemProps13.xml><?xml version="1.0" encoding="utf-8"?>
<ds:datastoreItem xmlns:ds="http://schemas.openxmlformats.org/officeDocument/2006/customXml" ds:itemID="{23AFB3F6-AA4A-4DF0-B56C-DD75979A710A}">
  <ds:schemaRefs/>
</ds:datastoreItem>
</file>

<file path=customXml/itemProps14.xml><?xml version="1.0" encoding="utf-8"?>
<ds:datastoreItem xmlns:ds="http://schemas.openxmlformats.org/officeDocument/2006/customXml" ds:itemID="{CAD61B22-77EC-45F3-B1FF-A77DBB6A87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1828c4-2bb6-4a05-8369-1635bee5fe5d"/>
    <ds:schemaRef ds:uri="3c250afa-d003-4206-b44c-2c703cd72b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5.xml><?xml version="1.0" encoding="utf-8"?>
<ds:datastoreItem xmlns:ds="http://schemas.openxmlformats.org/officeDocument/2006/customXml" ds:itemID="{08B1E030-6469-4EBB-A711-5EF68B5937B6}">
  <ds:schemaRefs/>
</ds:datastoreItem>
</file>

<file path=customXml/itemProps16.xml><?xml version="1.0" encoding="utf-8"?>
<ds:datastoreItem xmlns:ds="http://schemas.openxmlformats.org/officeDocument/2006/customXml" ds:itemID="{0FA40D88-6A62-4B3D-8BAD-FC2B409162D8}">
  <ds:schemaRefs/>
</ds:datastoreItem>
</file>

<file path=customXml/itemProps17.xml><?xml version="1.0" encoding="utf-8"?>
<ds:datastoreItem xmlns:ds="http://schemas.openxmlformats.org/officeDocument/2006/customXml" ds:itemID="{381C0AC8-F43C-40F2-9079-8C1A51EA4A3D}">
  <ds:schemaRefs/>
</ds:datastoreItem>
</file>

<file path=customXml/itemProps18.xml><?xml version="1.0" encoding="utf-8"?>
<ds:datastoreItem xmlns:ds="http://schemas.openxmlformats.org/officeDocument/2006/customXml" ds:itemID="{DCB59F80-5C9F-4E85-9E7B-41B62518E777}">
  <ds:schemaRefs/>
</ds:datastoreItem>
</file>

<file path=customXml/itemProps19.xml><?xml version="1.0" encoding="utf-8"?>
<ds:datastoreItem xmlns:ds="http://schemas.openxmlformats.org/officeDocument/2006/customXml" ds:itemID="{6CE6318D-08AA-43DF-ACD0-0AD85438C438}">
  <ds:schemaRefs/>
</ds:datastoreItem>
</file>

<file path=customXml/itemProps2.xml><?xml version="1.0" encoding="utf-8"?>
<ds:datastoreItem xmlns:ds="http://schemas.openxmlformats.org/officeDocument/2006/customXml" ds:itemID="{465B2141-B23D-4781-82D8-99F0A0549664}">
  <ds:schemaRefs/>
</ds:datastoreItem>
</file>

<file path=customXml/itemProps20.xml><?xml version="1.0" encoding="utf-8"?>
<ds:datastoreItem xmlns:ds="http://schemas.openxmlformats.org/officeDocument/2006/customXml" ds:itemID="{40BFAF76-A661-48F0-9FCE-03CECBF17E36}">
  <ds:schemaRefs/>
</ds:datastoreItem>
</file>

<file path=customXml/itemProps21.xml><?xml version="1.0" encoding="utf-8"?>
<ds:datastoreItem xmlns:ds="http://schemas.openxmlformats.org/officeDocument/2006/customXml" ds:itemID="{387517B4-01F1-4D49-BF2A-D9E7E060B0C1}">
  <ds:schemaRefs/>
</ds:datastoreItem>
</file>

<file path=customXml/itemProps22.xml><?xml version="1.0" encoding="utf-8"?>
<ds:datastoreItem xmlns:ds="http://schemas.openxmlformats.org/officeDocument/2006/customXml" ds:itemID="{738432C4-AE35-4D15-8BD4-67AB29D9D04B}">
  <ds:schemaRefs/>
</ds:datastoreItem>
</file>

<file path=customXml/itemProps23.xml><?xml version="1.0" encoding="utf-8"?>
<ds:datastoreItem xmlns:ds="http://schemas.openxmlformats.org/officeDocument/2006/customXml" ds:itemID="{874E2DFC-8EC0-463D-9DFF-307FC41585ED}">
  <ds:schemaRefs/>
</ds:datastoreItem>
</file>

<file path=customXml/itemProps24.xml><?xml version="1.0" encoding="utf-8"?>
<ds:datastoreItem xmlns:ds="http://schemas.openxmlformats.org/officeDocument/2006/customXml" ds:itemID="{2EE81ACB-0BBD-4FF8-A299-10C12A915686}">
  <ds:schemaRefs/>
</ds:datastoreItem>
</file>

<file path=customXml/itemProps25.xml><?xml version="1.0" encoding="utf-8"?>
<ds:datastoreItem xmlns:ds="http://schemas.openxmlformats.org/officeDocument/2006/customXml" ds:itemID="{A98F6881-12FD-4695-BA9A-DE464329E304}">
  <ds:schemaRefs/>
</ds:datastoreItem>
</file>

<file path=customXml/itemProps26.xml><?xml version="1.0" encoding="utf-8"?>
<ds:datastoreItem xmlns:ds="http://schemas.openxmlformats.org/officeDocument/2006/customXml" ds:itemID="{969A1890-2B6D-4D57-AC1B-1C9411D26FF0}">
  <ds:schemaRefs/>
</ds:datastoreItem>
</file>

<file path=customXml/itemProps27.xml><?xml version="1.0" encoding="utf-8"?>
<ds:datastoreItem xmlns:ds="http://schemas.openxmlformats.org/officeDocument/2006/customXml" ds:itemID="{473C8F60-DFF9-4D9A-98A3-3954E2BABD4B}">
  <ds:schemaRefs/>
</ds:datastoreItem>
</file>

<file path=customXml/itemProps28.xml><?xml version="1.0" encoding="utf-8"?>
<ds:datastoreItem xmlns:ds="http://schemas.openxmlformats.org/officeDocument/2006/customXml" ds:itemID="{45CD25BC-D044-46AD-814E-ED96AC85D25A}">
  <ds:schemaRefs/>
</ds:datastoreItem>
</file>

<file path=customXml/itemProps29.xml><?xml version="1.0" encoding="utf-8"?>
<ds:datastoreItem xmlns:ds="http://schemas.openxmlformats.org/officeDocument/2006/customXml" ds:itemID="{AE55732A-A1AE-4F8A-BEB9-AF83F9754CA7}">
  <ds:schemaRefs/>
</ds:datastoreItem>
</file>

<file path=customXml/itemProps3.xml><?xml version="1.0" encoding="utf-8"?>
<ds:datastoreItem xmlns:ds="http://schemas.openxmlformats.org/officeDocument/2006/customXml" ds:itemID="{39AF2495-6ED8-4926-A388-0B02D3FEF983}">
  <ds:schemaRefs/>
</ds:datastoreItem>
</file>

<file path=customXml/itemProps30.xml><?xml version="1.0" encoding="utf-8"?>
<ds:datastoreItem xmlns:ds="http://schemas.openxmlformats.org/officeDocument/2006/customXml" ds:itemID="{77C0F750-39C8-41ED-820C-F9BB5DD818C4}">
  <ds:schemaRefs/>
</ds:datastoreItem>
</file>

<file path=customXml/itemProps31.xml><?xml version="1.0" encoding="utf-8"?>
<ds:datastoreItem xmlns:ds="http://schemas.openxmlformats.org/officeDocument/2006/customXml" ds:itemID="{8841D775-699A-459C-87DE-9F7B8300FB89}">
  <ds:schemaRefs/>
</ds:datastoreItem>
</file>

<file path=customXml/itemProps32.xml><?xml version="1.0" encoding="utf-8"?>
<ds:datastoreItem xmlns:ds="http://schemas.openxmlformats.org/officeDocument/2006/customXml" ds:itemID="{A6B36AB5-24CA-4029-9FB5-25F24ED71B7F}">
  <ds:schemaRefs/>
</ds:datastoreItem>
</file>

<file path=customXml/itemProps33.xml><?xml version="1.0" encoding="utf-8"?>
<ds:datastoreItem xmlns:ds="http://schemas.openxmlformats.org/officeDocument/2006/customXml" ds:itemID="{400604A3-EB32-4FA7-BA4E-826F0C5EB260}">
  <ds:schemaRefs/>
</ds:datastoreItem>
</file>

<file path=customXml/itemProps34.xml><?xml version="1.0" encoding="utf-8"?>
<ds:datastoreItem xmlns:ds="http://schemas.openxmlformats.org/officeDocument/2006/customXml" ds:itemID="{6BF8525C-62B9-4321-91B7-FFEFD4A5025A}">
  <ds:schemaRefs/>
</ds:datastoreItem>
</file>

<file path=customXml/itemProps35.xml><?xml version="1.0" encoding="utf-8"?>
<ds:datastoreItem xmlns:ds="http://schemas.openxmlformats.org/officeDocument/2006/customXml" ds:itemID="{96537A3D-3300-471B-8425-BBCF652981CE}">
  <ds:schemaRefs/>
</ds:datastoreItem>
</file>

<file path=customXml/itemProps36.xml><?xml version="1.0" encoding="utf-8"?>
<ds:datastoreItem xmlns:ds="http://schemas.openxmlformats.org/officeDocument/2006/customXml" ds:itemID="{C06B5420-D23F-49D1-883E-C61F7EE2B55B}">
  <ds:schemaRefs/>
</ds:datastoreItem>
</file>

<file path=customXml/itemProps37.xml><?xml version="1.0" encoding="utf-8"?>
<ds:datastoreItem xmlns:ds="http://schemas.openxmlformats.org/officeDocument/2006/customXml" ds:itemID="{9B7A3B9B-CDAC-4490-B6CD-8E8AEFD79617}">
  <ds:schemaRefs/>
</ds:datastoreItem>
</file>

<file path=customXml/itemProps38.xml><?xml version="1.0" encoding="utf-8"?>
<ds:datastoreItem xmlns:ds="http://schemas.openxmlformats.org/officeDocument/2006/customXml" ds:itemID="{0EFAF06C-6381-414F-ACEC-CEE1F3060E52}">
  <ds:schemaRefs/>
</ds:datastoreItem>
</file>

<file path=customXml/itemProps39.xml><?xml version="1.0" encoding="utf-8"?>
<ds:datastoreItem xmlns:ds="http://schemas.openxmlformats.org/officeDocument/2006/customXml" ds:itemID="{75043DE9-76F3-4B80-94D5-8E89ADFE8C16}">
  <ds:schemaRefs/>
</ds:datastoreItem>
</file>

<file path=customXml/itemProps4.xml><?xml version="1.0" encoding="utf-8"?>
<ds:datastoreItem xmlns:ds="http://schemas.openxmlformats.org/officeDocument/2006/customXml" ds:itemID="{55D88343-2A15-4558-9326-3AA82B4860BD}">
  <ds:schemaRefs/>
</ds:datastoreItem>
</file>

<file path=customXml/itemProps40.xml><?xml version="1.0" encoding="utf-8"?>
<ds:datastoreItem xmlns:ds="http://schemas.openxmlformats.org/officeDocument/2006/customXml" ds:itemID="{76990199-6EED-437F-B7BE-10D392356A72}">
  <ds:schemaRefs/>
</ds:datastoreItem>
</file>

<file path=customXml/itemProps41.xml><?xml version="1.0" encoding="utf-8"?>
<ds:datastoreItem xmlns:ds="http://schemas.openxmlformats.org/officeDocument/2006/customXml" ds:itemID="{DFA282F6-91F5-4980-A6D4-1F62A424638A}">
  <ds:schemaRefs/>
</ds:datastoreItem>
</file>

<file path=customXml/itemProps42.xml><?xml version="1.0" encoding="utf-8"?>
<ds:datastoreItem xmlns:ds="http://schemas.openxmlformats.org/officeDocument/2006/customXml" ds:itemID="{D1A3308A-17FC-4A50-B76F-D3DE78554298}">
  <ds:schemaRefs/>
</ds:datastoreItem>
</file>

<file path=customXml/itemProps43.xml><?xml version="1.0" encoding="utf-8"?>
<ds:datastoreItem xmlns:ds="http://schemas.openxmlformats.org/officeDocument/2006/customXml" ds:itemID="{2B715957-B246-405A-8F81-AC920739251B}">
  <ds:schemaRefs/>
</ds:datastoreItem>
</file>

<file path=customXml/itemProps44.xml><?xml version="1.0" encoding="utf-8"?>
<ds:datastoreItem xmlns:ds="http://schemas.openxmlformats.org/officeDocument/2006/customXml" ds:itemID="{21915D95-DCF9-4123-A8CF-4CB7F7FDD3EC}">
  <ds:schemaRefs/>
</ds:datastoreItem>
</file>

<file path=customXml/itemProps45.xml><?xml version="1.0" encoding="utf-8"?>
<ds:datastoreItem xmlns:ds="http://schemas.openxmlformats.org/officeDocument/2006/customXml" ds:itemID="{F601A804-0535-41F7-B808-A27D5044F279}">
  <ds:schemaRefs/>
</ds:datastoreItem>
</file>

<file path=customXml/itemProps46.xml><?xml version="1.0" encoding="utf-8"?>
<ds:datastoreItem xmlns:ds="http://schemas.openxmlformats.org/officeDocument/2006/customXml" ds:itemID="{AC6256BA-2D33-47D8-B770-5E81A14D0DEF}">
  <ds:schemaRefs/>
</ds:datastoreItem>
</file>

<file path=customXml/itemProps47.xml><?xml version="1.0" encoding="utf-8"?>
<ds:datastoreItem xmlns:ds="http://schemas.openxmlformats.org/officeDocument/2006/customXml" ds:itemID="{43B0C9DB-BF53-4D62-A0F4-48B522E5FCBB}">
  <ds:schemaRefs/>
</ds:datastoreItem>
</file>

<file path=customXml/itemProps48.xml><?xml version="1.0" encoding="utf-8"?>
<ds:datastoreItem xmlns:ds="http://schemas.openxmlformats.org/officeDocument/2006/customXml" ds:itemID="{B5CA70D0-1B94-4BFA-966C-7FF0CBBB2BDB}">
  <ds:schemaRefs/>
</ds:datastoreItem>
</file>

<file path=customXml/itemProps49.xml><?xml version="1.0" encoding="utf-8"?>
<ds:datastoreItem xmlns:ds="http://schemas.openxmlformats.org/officeDocument/2006/customXml" ds:itemID="{F085F05B-5313-4A25-B5C2-F47E0A7DFB50}">
  <ds:schemaRefs/>
</ds:datastoreItem>
</file>

<file path=customXml/itemProps5.xml><?xml version="1.0" encoding="utf-8"?>
<ds:datastoreItem xmlns:ds="http://schemas.openxmlformats.org/officeDocument/2006/customXml" ds:itemID="{BFBCB3F7-860C-40CC-8532-A042390E68D6}">
  <ds:schemaRefs/>
</ds:datastoreItem>
</file>

<file path=customXml/itemProps50.xml><?xml version="1.0" encoding="utf-8"?>
<ds:datastoreItem xmlns:ds="http://schemas.openxmlformats.org/officeDocument/2006/customXml" ds:itemID="{E43AE835-B7F1-480B-AF80-65193AB0A9CA}">
  <ds:schemaRefs/>
</ds:datastoreItem>
</file>

<file path=customXml/itemProps51.xml><?xml version="1.0" encoding="utf-8"?>
<ds:datastoreItem xmlns:ds="http://schemas.openxmlformats.org/officeDocument/2006/customXml" ds:itemID="{758FF650-907C-428F-AD7B-6BA9D849A6CB}">
  <ds:schemaRefs/>
</ds:datastoreItem>
</file>

<file path=customXml/itemProps52.xml><?xml version="1.0" encoding="utf-8"?>
<ds:datastoreItem xmlns:ds="http://schemas.openxmlformats.org/officeDocument/2006/customXml" ds:itemID="{DF977017-B6C1-4037-9A22-5135F84AFDED}">
  <ds:schemaRefs/>
</ds:datastoreItem>
</file>

<file path=customXml/itemProps53.xml><?xml version="1.0" encoding="utf-8"?>
<ds:datastoreItem xmlns:ds="http://schemas.openxmlformats.org/officeDocument/2006/customXml" ds:itemID="{B2E38FC4-1533-4A92-B582-8C6E853F1307}">
  <ds:schemaRefs/>
</ds:datastoreItem>
</file>

<file path=customXml/itemProps54.xml><?xml version="1.0" encoding="utf-8"?>
<ds:datastoreItem xmlns:ds="http://schemas.openxmlformats.org/officeDocument/2006/customXml" ds:itemID="{720A702F-0C79-42EC-A6E5-A4779F5190AA}">
  <ds:schemaRefs/>
</ds:datastoreItem>
</file>

<file path=customXml/itemProps55.xml><?xml version="1.0" encoding="utf-8"?>
<ds:datastoreItem xmlns:ds="http://schemas.openxmlformats.org/officeDocument/2006/customXml" ds:itemID="{56FF6D84-F0D0-4202-8383-4680150C0EC0}">
  <ds:schemaRefs/>
</ds:datastoreItem>
</file>

<file path=customXml/itemProps56.xml><?xml version="1.0" encoding="utf-8"?>
<ds:datastoreItem xmlns:ds="http://schemas.openxmlformats.org/officeDocument/2006/customXml" ds:itemID="{8B057B07-C367-44B6-A866-0439CBAC8467}">
  <ds:schemaRefs/>
</ds:datastoreItem>
</file>

<file path=customXml/itemProps57.xml><?xml version="1.0" encoding="utf-8"?>
<ds:datastoreItem xmlns:ds="http://schemas.openxmlformats.org/officeDocument/2006/customXml" ds:itemID="{E13B8F3E-2BB5-4E65-B905-FDFB440A7FD7}">
  <ds:schemaRefs/>
</ds:datastoreItem>
</file>

<file path=customXml/itemProps58.xml><?xml version="1.0" encoding="utf-8"?>
<ds:datastoreItem xmlns:ds="http://schemas.openxmlformats.org/officeDocument/2006/customXml" ds:itemID="{70934037-94AB-4315-ACA8-184EC2954D8C}">
  <ds:schemaRefs/>
</ds:datastoreItem>
</file>

<file path=customXml/itemProps59.xml><?xml version="1.0" encoding="utf-8"?>
<ds:datastoreItem xmlns:ds="http://schemas.openxmlformats.org/officeDocument/2006/customXml" ds:itemID="{E69BD978-E4FF-4EAD-9DAD-6A6FB4A16C9E}">
  <ds:schemaRefs/>
</ds:datastoreItem>
</file>

<file path=customXml/itemProps6.xml><?xml version="1.0" encoding="utf-8"?>
<ds:datastoreItem xmlns:ds="http://schemas.openxmlformats.org/officeDocument/2006/customXml" ds:itemID="{4D968996-15A4-42B5-B199-6E9A91EAF8FC}">
  <ds:schemaRefs/>
</ds:datastoreItem>
</file>

<file path=customXml/itemProps60.xml><?xml version="1.0" encoding="utf-8"?>
<ds:datastoreItem xmlns:ds="http://schemas.openxmlformats.org/officeDocument/2006/customXml" ds:itemID="{BCE0BD0C-0471-41EF-B711-9E2D78A38A09}">
  <ds:schemaRefs/>
</ds:datastoreItem>
</file>

<file path=customXml/itemProps61.xml><?xml version="1.0" encoding="utf-8"?>
<ds:datastoreItem xmlns:ds="http://schemas.openxmlformats.org/officeDocument/2006/customXml" ds:itemID="{DA7DD992-DA02-4905-A94A-A76CFC59D989}">
  <ds:schemaRefs/>
</ds:datastoreItem>
</file>

<file path=customXml/itemProps62.xml><?xml version="1.0" encoding="utf-8"?>
<ds:datastoreItem xmlns:ds="http://schemas.openxmlformats.org/officeDocument/2006/customXml" ds:itemID="{8344DAE3-44CF-4D5A-8070-02E66D96374D}">
  <ds:schemaRefs/>
</ds:datastoreItem>
</file>

<file path=customXml/itemProps63.xml><?xml version="1.0" encoding="utf-8"?>
<ds:datastoreItem xmlns:ds="http://schemas.openxmlformats.org/officeDocument/2006/customXml" ds:itemID="{9325EF92-2206-4218-9C60-625955022AB8}">
  <ds:schemaRefs/>
</ds:datastoreItem>
</file>

<file path=customXml/itemProps64.xml><?xml version="1.0" encoding="utf-8"?>
<ds:datastoreItem xmlns:ds="http://schemas.openxmlformats.org/officeDocument/2006/customXml" ds:itemID="{7FA837C2-3807-4ABB-ACA0-CFB76FCE966C}">
  <ds:schemaRefs/>
</ds:datastoreItem>
</file>

<file path=customXml/itemProps65.xml><?xml version="1.0" encoding="utf-8"?>
<ds:datastoreItem xmlns:ds="http://schemas.openxmlformats.org/officeDocument/2006/customXml" ds:itemID="{CD4F3482-793E-4C95-B1EC-6224FDD8DB5B}">
  <ds:schemaRefs/>
</ds:datastoreItem>
</file>

<file path=customXml/itemProps66.xml><?xml version="1.0" encoding="utf-8"?>
<ds:datastoreItem xmlns:ds="http://schemas.openxmlformats.org/officeDocument/2006/customXml" ds:itemID="{B175187F-A9B6-40CE-BBBA-387449B48F52}">
  <ds:schemaRefs/>
</ds:datastoreItem>
</file>

<file path=customXml/itemProps67.xml><?xml version="1.0" encoding="utf-8"?>
<ds:datastoreItem xmlns:ds="http://schemas.openxmlformats.org/officeDocument/2006/customXml" ds:itemID="{165B7D70-AE35-4FDE-B04A-17F5B4A4AF4E}">
  <ds:schemaRefs>
    <ds:schemaRef ds:uri="http://schemas.microsoft.com/sharepoint/v3/contenttype/forms"/>
  </ds:schemaRefs>
</ds:datastoreItem>
</file>

<file path=customXml/itemProps68.xml><?xml version="1.0" encoding="utf-8"?>
<ds:datastoreItem xmlns:ds="http://schemas.openxmlformats.org/officeDocument/2006/customXml" ds:itemID="{A399EF3E-6650-4919-B9CF-6C6292031E45}">
  <ds:schemaRefs>
    <ds:schemaRef ds:uri="http://purl.org/dc/terms/"/>
    <ds:schemaRef ds:uri="3c250afa-d003-4206-b44c-2c703cd72bd7"/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41828c4-2bb6-4a05-8369-1635bee5fe5d"/>
  </ds:schemaRefs>
</ds:datastoreItem>
</file>

<file path=customXml/itemProps69.xml><?xml version="1.0" encoding="utf-8"?>
<ds:datastoreItem xmlns:ds="http://schemas.openxmlformats.org/officeDocument/2006/customXml" ds:itemID="{25060E33-840E-48CE-9650-FE9FA3D96631}">
  <ds:schemaRefs/>
</ds:datastoreItem>
</file>

<file path=customXml/itemProps7.xml><?xml version="1.0" encoding="utf-8"?>
<ds:datastoreItem xmlns:ds="http://schemas.openxmlformats.org/officeDocument/2006/customXml" ds:itemID="{9F51360E-0FEC-489D-9EC3-BB458393F36E}">
  <ds:schemaRefs/>
</ds:datastoreItem>
</file>

<file path=customXml/itemProps70.xml><?xml version="1.0" encoding="utf-8"?>
<ds:datastoreItem xmlns:ds="http://schemas.openxmlformats.org/officeDocument/2006/customXml" ds:itemID="{08CBAD52-EC78-4BD3-B6B6-B33DD22FF6BF}">
  <ds:schemaRefs/>
</ds:datastoreItem>
</file>

<file path=customXml/itemProps71.xml><?xml version="1.0" encoding="utf-8"?>
<ds:datastoreItem xmlns:ds="http://schemas.openxmlformats.org/officeDocument/2006/customXml" ds:itemID="{CA7B388F-DB6D-477B-A113-4FB31C8E6604}">
  <ds:schemaRefs/>
</ds:datastoreItem>
</file>

<file path=customXml/itemProps72.xml><?xml version="1.0" encoding="utf-8"?>
<ds:datastoreItem xmlns:ds="http://schemas.openxmlformats.org/officeDocument/2006/customXml" ds:itemID="{00C2EB24-77B5-4297-8D9A-18E0E8C7E03D}">
  <ds:schemaRefs/>
</ds:datastoreItem>
</file>

<file path=customXml/itemProps73.xml><?xml version="1.0" encoding="utf-8"?>
<ds:datastoreItem xmlns:ds="http://schemas.openxmlformats.org/officeDocument/2006/customXml" ds:itemID="{7F9ECCB6-733E-47B9-BCF9-6A1B9F9AB595}">
  <ds:schemaRefs/>
</ds:datastoreItem>
</file>

<file path=customXml/itemProps74.xml><?xml version="1.0" encoding="utf-8"?>
<ds:datastoreItem xmlns:ds="http://schemas.openxmlformats.org/officeDocument/2006/customXml" ds:itemID="{88076D5B-30ED-45AE-AAC1-298F964795F0}">
  <ds:schemaRefs/>
</ds:datastoreItem>
</file>

<file path=customXml/itemProps75.xml><?xml version="1.0" encoding="utf-8"?>
<ds:datastoreItem xmlns:ds="http://schemas.openxmlformats.org/officeDocument/2006/customXml" ds:itemID="{A81F54BA-27C6-4BF6-B7D4-2EAF2A63BA94}">
  <ds:schemaRefs/>
</ds:datastoreItem>
</file>

<file path=customXml/itemProps76.xml><?xml version="1.0" encoding="utf-8"?>
<ds:datastoreItem xmlns:ds="http://schemas.openxmlformats.org/officeDocument/2006/customXml" ds:itemID="{BCB7D755-7CFB-46CD-857B-FD8AE3CCEF90}">
  <ds:schemaRefs/>
</ds:datastoreItem>
</file>

<file path=customXml/itemProps77.xml><?xml version="1.0" encoding="utf-8"?>
<ds:datastoreItem xmlns:ds="http://schemas.openxmlformats.org/officeDocument/2006/customXml" ds:itemID="{06E5D1D1-D88D-4CC6-9B95-5772CCD2385C}">
  <ds:schemaRefs/>
</ds:datastoreItem>
</file>

<file path=customXml/itemProps78.xml><?xml version="1.0" encoding="utf-8"?>
<ds:datastoreItem xmlns:ds="http://schemas.openxmlformats.org/officeDocument/2006/customXml" ds:itemID="{31B6060D-BA14-47E1-80D9-9B5BB02501F9}">
  <ds:schemaRefs/>
</ds:datastoreItem>
</file>

<file path=customXml/itemProps79.xml><?xml version="1.0" encoding="utf-8"?>
<ds:datastoreItem xmlns:ds="http://schemas.openxmlformats.org/officeDocument/2006/customXml" ds:itemID="{A126B14F-3DFC-48F9-A860-F3659B164DAB}">
  <ds:schemaRefs/>
</ds:datastoreItem>
</file>

<file path=customXml/itemProps8.xml><?xml version="1.0" encoding="utf-8"?>
<ds:datastoreItem xmlns:ds="http://schemas.openxmlformats.org/officeDocument/2006/customXml" ds:itemID="{AFD5E8B5-68FA-41E3-95EA-17E7C9D5ABC9}">
  <ds:schemaRefs/>
</ds:datastoreItem>
</file>

<file path=customXml/itemProps80.xml><?xml version="1.0" encoding="utf-8"?>
<ds:datastoreItem xmlns:ds="http://schemas.openxmlformats.org/officeDocument/2006/customXml" ds:itemID="{2872027F-30CB-4AA2-9FFC-14A823E95ED4}">
  <ds:schemaRefs/>
</ds:datastoreItem>
</file>

<file path=customXml/itemProps81.xml><?xml version="1.0" encoding="utf-8"?>
<ds:datastoreItem xmlns:ds="http://schemas.openxmlformats.org/officeDocument/2006/customXml" ds:itemID="{C7EC23B5-DA59-4C39-A342-1521B8CD6BF4}">
  <ds:schemaRefs/>
</ds:datastoreItem>
</file>

<file path=customXml/itemProps82.xml><?xml version="1.0" encoding="utf-8"?>
<ds:datastoreItem xmlns:ds="http://schemas.openxmlformats.org/officeDocument/2006/customXml" ds:itemID="{5B675B49-2C40-412C-A1FC-C36210C25D20}">
  <ds:schemaRefs/>
</ds:datastoreItem>
</file>

<file path=customXml/itemProps83.xml><?xml version="1.0" encoding="utf-8"?>
<ds:datastoreItem xmlns:ds="http://schemas.openxmlformats.org/officeDocument/2006/customXml" ds:itemID="{FA596EE7-85EE-4C2C-B431-4363F842C553}">
  <ds:schemaRefs/>
</ds:datastoreItem>
</file>

<file path=customXml/itemProps84.xml><?xml version="1.0" encoding="utf-8"?>
<ds:datastoreItem xmlns:ds="http://schemas.openxmlformats.org/officeDocument/2006/customXml" ds:itemID="{DE9D7D6C-1CFE-45D4-B8E0-40E1654F2E72}">
  <ds:schemaRefs/>
</ds:datastoreItem>
</file>

<file path=customXml/itemProps85.xml><?xml version="1.0" encoding="utf-8"?>
<ds:datastoreItem xmlns:ds="http://schemas.openxmlformats.org/officeDocument/2006/customXml" ds:itemID="{F9FC9A4B-19A6-48DB-9A63-C345D82B0EFA}">
  <ds:schemaRefs/>
</ds:datastoreItem>
</file>

<file path=customXml/itemProps86.xml><?xml version="1.0" encoding="utf-8"?>
<ds:datastoreItem xmlns:ds="http://schemas.openxmlformats.org/officeDocument/2006/customXml" ds:itemID="{7DACE762-62E8-4637-8787-7076522E7786}">
  <ds:schemaRefs/>
</ds:datastoreItem>
</file>

<file path=customXml/itemProps87.xml><?xml version="1.0" encoding="utf-8"?>
<ds:datastoreItem xmlns:ds="http://schemas.openxmlformats.org/officeDocument/2006/customXml" ds:itemID="{71EEB487-3A98-4BB3-9C32-E1BF7CB2B049}">
  <ds:schemaRefs/>
</ds:datastoreItem>
</file>

<file path=customXml/itemProps88.xml><?xml version="1.0" encoding="utf-8"?>
<ds:datastoreItem xmlns:ds="http://schemas.openxmlformats.org/officeDocument/2006/customXml" ds:itemID="{B752B982-A485-493D-89A5-6C42F10782B6}">
  <ds:schemaRefs/>
</ds:datastoreItem>
</file>

<file path=customXml/itemProps89.xml><?xml version="1.0" encoding="utf-8"?>
<ds:datastoreItem xmlns:ds="http://schemas.openxmlformats.org/officeDocument/2006/customXml" ds:itemID="{41CA2F0B-BE21-447E-998D-CC450A5A8AB0}">
  <ds:schemaRefs/>
</ds:datastoreItem>
</file>

<file path=customXml/itemProps9.xml><?xml version="1.0" encoding="utf-8"?>
<ds:datastoreItem xmlns:ds="http://schemas.openxmlformats.org/officeDocument/2006/customXml" ds:itemID="{12862C41-9AA5-4054-B274-571189BF0734}">
  <ds:schemaRefs/>
</ds:datastoreItem>
</file>

<file path=customXml/itemProps90.xml><?xml version="1.0" encoding="utf-8"?>
<ds:datastoreItem xmlns:ds="http://schemas.openxmlformats.org/officeDocument/2006/customXml" ds:itemID="{C0602251-9827-45BF-8FC8-B110239BFB8B}">
  <ds:schemaRefs/>
</ds:datastoreItem>
</file>

<file path=customXml/itemProps91.xml><?xml version="1.0" encoding="utf-8"?>
<ds:datastoreItem xmlns:ds="http://schemas.openxmlformats.org/officeDocument/2006/customXml" ds:itemID="{EDEA15FC-17B3-40FC-822B-B4F91CBAA3A4}">
  <ds:schemaRefs/>
</ds:datastoreItem>
</file>

<file path=customXml/itemProps92.xml><?xml version="1.0" encoding="utf-8"?>
<ds:datastoreItem xmlns:ds="http://schemas.openxmlformats.org/officeDocument/2006/customXml" ds:itemID="{64E08669-5AC5-4113-97F1-2E5834E2A41A}">
  <ds:schemaRefs/>
</ds:datastoreItem>
</file>

<file path=customXml/itemProps93.xml><?xml version="1.0" encoding="utf-8"?>
<ds:datastoreItem xmlns:ds="http://schemas.openxmlformats.org/officeDocument/2006/customXml" ds:itemID="{ECD4E511-68E5-43C0-A344-111231AEE1EB}">
  <ds:schemaRefs/>
</ds:datastoreItem>
</file>

<file path=customXml/itemProps94.xml><?xml version="1.0" encoding="utf-8"?>
<ds:datastoreItem xmlns:ds="http://schemas.openxmlformats.org/officeDocument/2006/customXml" ds:itemID="{F25076FC-86EF-449D-92CA-4FE5D0AB9E92}">
  <ds:schemaRefs/>
</ds:datastoreItem>
</file>

<file path=customXml/itemProps95.xml><?xml version="1.0" encoding="utf-8"?>
<ds:datastoreItem xmlns:ds="http://schemas.openxmlformats.org/officeDocument/2006/customXml" ds:itemID="{D5DAA4EB-1E9E-40F9-93B7-2E2C84376046}">
  <ds:schemaRefs/>
</ds:datastoreItem>
</file>

<file path=customXml/itemProps96.xml><?xml version="1.0" encoding="utf-8"?>
<ds:datastoreItem xmlns:ds="http://schemas.openxmlformats.org/officeDocument/2006/customXml" ds:itemID="{6F81D160-776D-4B5B-8E29-A94838D0141A}">
  <ds:schemaRefs/>
</ds:datastoreItem>
</file>

<file path=customXml/itemProps97.xml><?xml version="1.0" encoding="utf-8"?>
<ds:datastoreItem xmlns:ds="http://schemas.openxmlformats.org/officeDocument/2006/customXml" ds:itemID="{436022FA-580A-4516-B03C-03A39DA0CFCA}">
  <ds:schemaRefs/>
</ds:datastoreItem>
</file>

<file path=customXml/itemProps98.xml><?xml version="1.0" encoding="utf-8"?>
<ds:datastoreItem xmlns:ds="http://schemas.openxmlformats.org/officeDocument/2006/customXml" ds:itemID="{679E1CB7-1AD8-423F-9430-D5A74F99103B}">
  <ds:schemaRefs/>
</ds:datastoreItem>
</file>

<file path=customXml/itemProps99.xml><?xml version="1.0" encoding="utf-8"?>
<ds:datastoreItem xmlns:ds="http://schemas.openxmlformats.org/officeDocument/2006/customXml" ds:itemID="{91AB6EA3-3FA0-48D1-A667-58CAAF3B015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0</TotalTime>
  <Words>3689</Words>
  <Application>Microsoft Office PowerPoint</Application>
  <PresentationFormat>On-screen Show (16:9)</PresentationFormat>
  <Paragraphs>628</Paragraphs>
  <Slides>45</Slides>
  <Notes>44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1" baseType="lpstr">
      <vt:lpstr>Arial</vt:lpstr>
      <vt:lpstr>Calibri</vt:lpstr>
      <vt:lpstr>Calibri Light</vt:lpstr>
      <vt:lpstr>Wingdings</vt:lpstr>
      <vt:lpstr>Slide Master Only: November 2024</vt:lpstr>
      <vt:lpstr>think-cell Slide</vt:lpstr>
      <vt:lpstr>Presentation cover slide example: Vertical white logo on blue background</vt:lpstr>
      <vt:lpstr>Agenda</vt:lpstr>
      <vt:lpstr>Introduction</vt:lpstr>
      <vt:lpstr>Introduction - Thesis Objectives</vt:lpstr>
      <vt:lpstr>Literature Review</vt:lpstr>
      <vt:lpstr>Literature Review – Summary &amp; Insights</vt:lpstr>
      <vt:lpstr>Research Questions &amp; Methodology</vt:lpstr>
      <vt:lpstr>Requirements Analysis - Workflow Analysis</vt:lpstr>
      <vt:lpstr>Requirements Analysis - Workflow Analysis</vt:lpstr>
      <vt:lpstr>Requirements Analysis</vt:lpstr>
      <vt:lpstr>Final Requirements - System Qualities</vt:lpstr>
      <vt:lpstr>System Architecture Overview</vt:lpstr>
      <vt:lpstr>Design Core Ideas</vt:lpstr>
      <vt:lpstr>System Behavior - Workflow Reconfiguration</vt:lpstr>
      <vt:lpstr>System Behavior</vt:lpstr>
      <vt:lpstr>System Behavior – Adaptation to environment</vt:lpstr>
      <vt:lpstr>System Behavior</vt:lpstr>
      <vt:lpstr>Deployment Flexibility &amp; adaptability</vt:lpstr>
      <vt:lpstr>Requirements Alignment &amp; Trade offs</vt:lpstr>
      <vt:lpstr>Proof of Concept</vt:lpstr>
      <vt:lpstr>Proof of Concept - Video</vt:lpstr>
      <vt:lpstr>Proof of Concept - Resilience</vt:lpstr>
      <vt:lpstr>Proof of Concept - Resilience</vt:lpstr>
      <vt:lpstr>Evaluation &amp; Results</vt:lpstr>
      <vt:lpstr>Results per Quality</vt:lpstr>
      <vt:lpstr>Boundaries &amp; Future Extensions</vt:lpstr>
      <vt:lpstr>Research Questions Answers (1) </vt:lpstr>
      <vt:lpstr>Research Questions Answers (2) </vt:lpstr>
      <vt:lpstr>Research Questions Answers </vt:lpstr>
      <vt:lpstr>Main Contributions</vt:lpstr>
      <vt:lpstr>PowerPoint Presentation</vt:lpstr>
      <vt:lpstr>Backup Slides - Discussion</vt:lpstr>
      <vt:lpstr>Backup Slides – Automated task execution</vt:lpstr>
      <vt:lpstr>Backup Slides - System Behavior – Full Example</vt:lpstr>
      <vt:lpstr>Backup Slides - Design Alternatives</vt:lpstr>
      <vt:lpstr>Backup Slides - Self Adaptive Adaptor – High level Idea</vt:lpstr>
      <vt:lpstr>Change Scenarios Examples</vt:lpstr>
      <vt:lpstr>Backup Slides -  Proof of concept</vt:lpstr>
      <vt:lpstr>Backup Slides - Proof of concept</vt:lpstr>
      <vt:lpstr>Backup Slides -  Change Scenarios Examples Proof of concept</vt:lpstr>
      <vt:lpstr>Backup Slides -  Change Scenarios Examples Proof of concept</vt:lpstr>
      <vt:lpstr>Backup Slides -  Change Scenarios Examples Proof of concept</vt:lpstr>
      <vt:lpstr>Backup Slides -  Change Scenarios Examples Proof of concept</vt:lpstr>
      <vt:lpstr>Backup Slides -  BPMN CMMN and other alternativ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>Konstantinos Chanioglou</dc:creator>
  <cp:keywords/>
  <dc:description/>
  <cp:lastModifiedBy>Chanioglou, Konstantinos</cp:lastModifiedBy>
  <cp:revision>8</cp:revision>
  <dcterms:created xsi:type="dcterms:W3CDTF">2025-07-08T21:42:04Z</dcterms:created>
  <dcterms:modified xsi:type="dcterms:W3CDTF">2025-07-19T20:58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7-02T15:15:06</vt:lpwstr>
  </property>
  <property fmtid="{D5CDD505-2E9C-101B-9397-08002B2CF9AE}" pid="3" name="TemplafyTenantId">
    <vt:lpwstr>philips</vt:lpwstr>
  </property>
  <property fmtid="{D5CDD505-2E9C-101B-9397-08002B2CF9AE}" pid="4" name="TemplafyTemplateId">
    <vt:lpwstr>1219857514174875280</vt:lpwstr>
  </property>
  <property fmtid="{D5CDD505-2E9C-101B-9397-08002B2CF9AE}" pid="5" name="TemplafyUserProfileId">
    <vt:lpwstr>1068452777963814929</vt:lpwstr>
  </property>
  <property fmtid="{D5CDD505-2E9C-101B-9397-08002B2CF9AE}" pid="6" name="TemplafyFromBlank">
    <vt:bool>true</vt:bool>
  </property>
  <property fmtid="{D5CDD505-2E9C-101B-9397-08002B2CF9AE}" pid="7" name="ContentTypeId">
    <vt:lpwstr>0x010100543355F0A886234BB5774045912E6DDF</vt:lpwstr>
  </property>
</Properties>
</file>